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2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58" r:id="rId2"/>
    <p:sldId id="327" r:id="rId3"/>
    <p:sldId id="329" r:id="rId4"/>
    <p:sldId id="335" r:id="rId5"/>
    <p:sldId id="322" r:id="rId6"/>
    <p:sldId id="337" r:id="rId7"/>
    <p:sldId id="338" r:id="rId8"/>
    <p:sldId id="334" r:id="rId9"/>
    <p:sldId id="340" r:id="rId10"/>
    <p:sldId id="339" r:id="rId11"/>
    <p:sldId id="341" r:id="rId12"/>
    <p:sldId id="342" r:id="rId13"/>
    <p:sldId id="323" r:id="rId14"/>
    <p:sldId id="333" r:id="rId15"/>
    <p:sldId id="305" r:id="rId16"/>
  </p:sldIdLst>
  <p:sldSz cx="9144000" cy="6858000" type="screen4x3"/>
  <p:notesSz cx="6789738" cy="9929813"/>
  <p:custDataLst>
    <p:tags r:id="rId18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0F6CA"/>
    <a:srgbClr val="F0C0AA"/>
    <a:srgbClr val="FBD5B5"/>
    <a:srgbClr val="FFCCCC"/>
    <a:srgbClr val="BAE040"/>
    <a:srgbClr val="68CCE4"/>
    <a:srgbClr val="00E266"/>
    <a:srgbClr val="FF9900"/>
    <a:srgbClr val="CC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Estilo claro 1 - Acento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B1032C-EA38-4F05-BA0D-38AFFFC7BED3}" styleName="Estilo claro 3 - Acento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35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204" y="114"/>
      </p:cViewPr>
      <p:guideLst>
        <p:guide orient="horz" pos="2160"/>
        <p:guide pos="2880"/>
        <p:guide pos="132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71E719-6A2B-4E47-8371-A8751FEB126F}" type="doc">
      <dgm:prSet loTypeId="urn:microsoft.com/office/officeart/2005/8/layout/chevron1" loCatId="process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es-ES"/>
        </a:p>
      </dgm:t>
    </dgm:pt>
    <dgm:pt modelId="{9E626E92-5C55-4402-A2E7-62292B317E66}">
      <dgm:prSet phldrT="[Texto]" custT="1"/>
      <dgm:spPr/>
      <dgm:t>
        <a:bodyPr/>
        <a:lstStyle/>
        <a:p>
          <a:r>
            <a:rPr lang="es-ES" sz="3200" b="1" dirty="0">
              <a:effectLst/>
              <a:latin typeface="+mj-lt"/>
            </a:rPr>
            <a:t>31.336</a:t>
          </a:r>
        </a:p>
      </dgm:t>
    </dgm:pt>
    <dgm:pt modelId="{A98E903B-102C-4165-8FB5-8328CF692082}" type="parTrans" cxnId="{97BDF645-F546-48CD-B517-5F925BC2DD44}">
      <dgm:prSet/>
      <dgm:spPr/>
      <dgm:t>
        <a:bodyPr/>
        <a:lstStyle/>
        <a:p>
          <a:endParaRPr lang="es-ES" sz="3500">
            <a:solidFill>
              <a:schemeClr val="tx1"/>
            </a:solidFill>
            <a:latin typeface="Berlin Sans FB Demi" panose="020E0802020502020306" pitchFamily="34" charset="0"/>
          </a:endParaRPr>
        </a:p>
      </dgm:t>
    </dgm:pt>
    <dgm:pt modelId="{4C2E3849-BAAB-4E31-8A63-9B6505970FEF}" type="sibTrans" cxnId="{97BDF645-F546-48CD-B517-5F925BC2DD44}">
      <dgm:prSet/>
      <dgm:spPr/>
      <dgm:t>
        <a:bodyPr/>
        <a:lstStyle/>
        <a:p>
          <a:endParaRPr lang="es-ES" sz="3500">
            <a:solidFill>
              <a:schemeClr val="tx1"/>
            </a:solidFill>
            <a:latin typeface="Berlin Sans FB Demi" panose="020E0802020502020306" pitchFamily="34" charset="0"/>
          </a:endParaRPr>
        </a:p>
      </dgm:t>
    </dgm:pt>
    <dgm:pt modelId="{8A3279BD-3298-476F-8A0F-673B676CAB03}">
      <dgm:prSet phldrT="[Texto]" custT="1"/>
      <dgm:spPr/>
      <dgm:t>
        <a:bodyPr/>
        <a:lstStyle/>
        <a:p>
          <a:r>
            <a:rPr lang="es-ES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31.146</a:t>
          </a:r>
        </a:p>
      </dgm:t>
    </dgm:pt>
    <dgm:pt modelId="{E1AEFCED-F28A-4174-9DFF-323AD0AE67E1}" type="parTrans" cxnId="{E6153B70-444E-4918-865B-E1D520D4CB13}">
      <dgm:prSet/>
      <dgm:spPr/>
      <dgm:t>
        <a:bodyPr/>
        <a:lstStyle/>
        <a:p>
          <a:endParaRPr lang="es-ES" sz="3500">
            <a:solidFill>
              <a:schemeClr val="tx1"/>
            </a:solidFill>
            <a:latin typeface="Berlin Sans FB Demi" panose="020E0802020502020306" pitchFamily="34" charset="0"/>
          </a:endParaRPr>
        </a:p>
      </dgm:t>
    </dgm:pt>
    <dgm:pt modelId="{68D6A776-7AF3-4497-94DB-E06DF6C48F27}" type="sibTrans" cxnId="{E6153B70-444E-4918-865B-E1D520D4CB13}">
      <dgm:prSet/>
      <dgm:spPr/>
      <dgm:t>
        <a:bodyPr/>
        <a:lstStyle/>
        <a:p>
          <a:endParaRPr lang="es-ES" sz="3500">
            <a:solidFill>
              <a:schemeClr val="tx1"/>
            </a:solidFill>
            <a:latin typeface="Berlin Sans FB Demi" panose="020E0802020502020306" pitchFamily="34" charset="0"/>
          </a:endParaRPr>
        </a:p>
      </dgm:t>
    </dgm:pt>
    <dgm:pt modelId="{FE5BD082-CCA9-4D04-A867-FFB94BB15699}">
      <dgm:prSet phldrT="[Texto]" custT="1"/>
      <dgm:spPr/>
      <dgm:t>
        <a:bodyPr/>
        <a:lstStyle/>
        <a:p>
          <a:r>
            <a:rPr lang="es-ES" sz="35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490</a:t>
          </a:r>
        </a:p>
      </dgm:t>
    </dgm:pt>
    <dgm:pt modelId="{D925A39A-38EF-4C21-B234-23F5447B19D4}" type="parTrans" cxnId="{7843D38D-5743-4A41-84D1-9C707C3F48F2}">
      <dgm:prSet/>
      <dgm:spPr/>
      <dgm:t>
        <a:bodyPr/>
        <a:lstStyle/>
        <a:p>
          <a:endParaRPr lang="es-ES" sz="3500">
            <a:solidFill>
              <a:schemeClr val="tx1"/>
            </a:solidFill>
            <a:latin typeface="Berlin Sans FB Demi" panose="020E0802020502020306" pitchFamily="34" charset="0"/>
          </a:endParaRPr>
        </a:p>
      </dgm:t>
    </dgm:pt>
    <dgm:pt modelId="{C385AF21-A429-4BC5-9341-B5B3D967BBFD}" type="sibTrans" cxnId="{7843D38D-5743-4A41-84D1-9C707C3F48F2}">
      <dgm:prSet/>
      <dgm:spPr/>
      <dgm:t>
        <a:bodyPr/>
        <a:lstStyle/>
        <a:p>
          <a:endParaRPr lang="es-ES" sz="3500">
            <a:solidFill>
              <a:schemeClr val="tx1"/>
            </a:solidFill>
            <a:latin typeface="Berlin Sans FB Demi" panose="020E0802020502020306" pitchFamily="34" charset="0"/>
          </a:endParaRPr>
        </a:p>
      </dgm:t>
    </dgm:pt>
    <dgm:pt modelId="{EA1DA22B-617B-4481-B54D-E1C81D5F474B}" type="pres">
      <dgm:prSet presAssocID="{8A71E719-6A2B-4E47-8371-A8751FEB126F}" presName="Name0" presStyleCnt="0">
        <dgm:presLayoutVars>
          <dgm:dir/>
          <dgm:animLvl val="lvl"/>
          <dgm:resizeHandles val="exact"/>
        </dgm:presLayoutVars>
      </dgm:prSet>
      <dgm:spPr/>
    </dgm:pt>
    <dgm:pt modelId="{5AEB8C17-4D68-4CB2-85BB-F9C1CC95C407}" type="pres">
      <dgm:prSet presAssocID="{9E626E92-5C55-4402-A2E7-62292B317E66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B738CBEA-5C1A-4C9A-AF3D-4E38748D7502}" type="pres">
      <dgm:prSet presAssocID="{4C2E3849-BAAB-4E31-8A63-9B6505970FEF}" presName="parTxOnlySpace" presStyleCnt="0"/>
      <dgm:spPr/>
    </dgm:pt>
    <dgm:pt modelId="{A0A0F9EC-02EE-4769-8C86-14156B172568}" type="pres">
      <dgm:prSet presAssocID="{FE5BD082-CCA9-4D04-A867-FFB94BB15699}" presName="parTxOnly" presStyleLbl="node1" presStyleIdx="1" presStyleCnt="3" custLinFactNeighborX="-23110" custLinFactNeighborY="-635">
        <dgm:presLayoutVars>
          <dgm:chMax val="0"/>
          <dgm:chPref val="0"/>
          <dgm:bulletEnabled val="1"/>
        </dgm:presLayoutVars>
      </dgm:prSet>
      <dgm:spPr/>
    </dgm:pt>
    <dgm:pt modelId="{DF2BBD77-BA01-42B6-8911-3ADA1B9B1A57}" type="pres">
      <dgm:prSet presAssocID="{C385AF21-A429-4BC5-9341-B5B3D967BBFD}" presName="parTxOnlySpace" presStyleCnt="0"/>
      <dgm:spPr/>
    </dgm:pt>
    <dgm:pt modelId="{412E1E2E-A28D-4EF8-A2B2-544B6CBC1464}" type="pres">
      <dgm:prSet presAssocID="{8A3279BD-3298-476F-8A0F-673B676CAB03}" presName="parTxOnly" presStyleLbl="node1" presStyleIdx="2" presStyleCnt="3" custLinFactNeighborY="-1410">
        <dgm:presLayoutVars>
          <dgm:chMax val="0"/>
          <dgm:chPref val="0"/>
          <dgm:bulletEnabled val="1"/>
        </dgm:presLayoutVars>
      </dgm:prSet>
      <dgm:spPr/>
    </dgm:pt>
  </dgm:ptLst>
  <dgm:cxnLst>
    <dgm:cxn modelId="{C7E7FC04-C1C4-4803-AE83-B57F25A51FF8}" type="presOf" srcId="{9E626E92-5C55-4402-A2E7-62292B317E66}" destId="{5AEB8C17-4D68-4CB2-85BB-F9C1CC95C407}" srcOrd="0" destOrd="0" presId="urn:microsoft.com/office/officeart/2005/8/layout/chevron1"/>
    <dgm:cxn modelId="{97BDF645-F546-48CD-B517-5F925BC2DD44}" srcId="{8A71E719-6A2B-4E47-8371-A8751FEB126F}" destId="{9E626E92-5C55-4402-A2E7-62292B317E66}" srcOrd="0" destOrd="0" parTransId="{A98E903B-102C-4165-8FB5-8328CF692082}" sibTransId="{4C2E3849-BAAB-4E31-8A63-9B6505970FEF}"/>
    <dgm:cxn modelId="{E6153B70-444E-4918-865B-E1D520D4CB13}" srcId="{8A71E719-6A2B-4E47-8371-A8751FEB126F}" destId="{8A3279BD-3298-476F-8A0F-673B676CAB03}" srcOrd="2" destOrd="0" parTransId="{E1AEFCED-F28A-4174-9DFF-323AD0AE67E1}" sibTransId="{68D6A776-7AF3-4497-94DB-E06DF6C48F27}"/>
    <dgm:cxn modelId="{7843D38D-5743-4A41-84D1-9C707C3F48F2}" srcId="{8A71E719-6A2B-4E47-8371-A8751FEB126F}" destId="{FE5BD082-CCA9-4D04-A867-FFB94BB15699}" srcOrd="1" destOrd="0" parTransId="{D925A39A-38EF-4C21-B234-23F5447B19D4}" sibTransId="{C385AF21-A429-4BC5-9341-B5B3D967BBFD}"/>
    <dgm:cxn modelId="{0E3792B1-39EC-4102-BF3B-95DC334E07D5}" type="presOf" srcId="{8A3279BD-3298-476F-8A0F-673B676CAB03}" destId="{412E1E2E-A28D-4EF8-A2B2-544B6CBC1464}" srcOrd="0" destOrd="0" presId="urn:microsoft.com/office/officeart/2005/8/layout/chevron1"/>
    <dgm:cxn modelId="{1A5B06C3-A57C-4A9C-8389-1E37DBA76ED6}" type="presOf" srcId="{8A71E719-6A2B-4E47-8371-A8751FEB126F}" destId="{EA1DA22B-617B-4481-B54D-E1C81D5F474B}" srcOrd="0" destOrd="0" presId="urn:microsoft.com/office/officeart/2005/8/layout/chevron1"/>
    <dgm:cxn modelId="{DC1542C7-084E-46CA-8BE9-5AE089FC71CD}" type="presOf" srcId="{FE5BD082-CCA9-4D04-A867-FFB94BB15699}" destId="{A0A0F9EC-02EE-4769-8C86-14156B172568}" srcOrd="0" destOrd="0" presId="urn:microsoft.com/office/officeart/2005/8/layout/chevron1"/>
    <dgm:cxn modelId="{CDA14DE7-4ACF-4B26-BA60-D0DED25D4DD4}" type="presParOf" srcId="{EA1DA22B-617B-4481-B54D-E1C81D5F474B}" destId="{5AEB8C17-4D68-4CB2-85BB-F9C1CC95C407}" srcOrd="0" destOrd="0" presId="urn:microsoft.com/office/officeart/2005/8/layout/chevron1"/>
    <dgm:cxn modelId="{4D64FD28-0907-4A1A-8B85-21D791F57785}" type="presParOf" srcId="{EA1DA22B-617B-4481-B54D-E1C81D5F474B}" destId="{B738CBEA-5C1A-4C9A-AF3D-4E38748D7502}" srcOrd="1" destOrd="0" presId="urn:microsoft.com/office/officeart/2005/8/layout/chevron1"/>
    <dgm:cxn modelId="{59405506-4655-40E9-8446-37E51845526E}" type="presParOf" srcId="{EA1DA22B-617B-4481-B54D-E1C81D5F474B}" destId="{A0A0F9EC-02EE-4769-8C86-14156B172568}" srcOrd="2" destOrd="0" presId="urn:microsoft.com/office/officeart/2005/8/layout/chevron1"/>
    <dgm:cxn modelId="{4F4E928B-169E-4221-B786-08511B1E9AFC}" type="presParOf" srcId="{EA1DA22B-617B-4481-B54D-E1C81D5F474B}" destId="{DF2BBD77-BA01-42B6-8911-3ADA1B9B1A57}" srcOrd="3" destOrd="0" presId="urn:microsoft.com/office/officeart/2005/8/layout/chevron1"/>
    <dgm:cxn modelId="{09F48187-4FD7-4229-9641-CFFDF7773FE2}" type="presParOf" srcId="{EA1DA22B-617B-4481-B54D-E1C81D5F474B}" destId="{412E1E2E-A28D-4EF8-A2B2-544B6CBC1464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A71E719-6A2B-4E47-8371-A8751FEB126F}" type="doc">
      <dgm:prSet loTypeId="urn:microsoft.com/office/officeart/2005/8/layout/chevron1" loCatId="process" qsTypeId="urn:microsoft.com/office/officeart/2005/8/quickstyle/simple1" qsCatId="simple" csTypeId="urn:microsoft.com/office/officeart/2005/8/colors/accent6_5" csCatId="accent6" phldr="1"/>
      <dgm:spPr/>
      <dgm:t>
        <a:bodyPr/>
        <a:lstStyle/>
        <a:p>
          <a:endParaRPr lang="es-ES"/>
        </a:p>
      </dgm:t>
    </dgm:pt>
    <dgm:pt modelId="{9E626E92-5C55-4402-A2E7-62292B317E66}">
      <dgm:prSet phldrT="[Texto]" custT="1"/>
      <dgm:spPr/>
      <dgm:t>
        <a:bodyPr/>
        <a:lstStyle/>
        <a:p>
          <a:r>
            <a:rPr lang="es-ES" sz="3200" b="1" dirty="0">
              <a:effectLst/>
              <a:latin typeface="+mj-lt"/>
            </a:rPr>
            <a:t>1.370</a:t>
          </a:r>
          <a:br>
            <a:rPr lang="es-ES" sz="3200" b="1" dirty="0">
              <a:effectLst/>
              <a:latin typeface="+mj-lt"/>
            </a:rPr>
          </a:br>
          <a:r>
            <a:rPr lang="es-ES" sz="1800" b="1" dirty="0">
              <a:effectLst/>
              <a:latin typeface="+mj-lt"/>
            </a:rPr>
            <a:t>Proyectos Productivos en formulación</a:t>
          </a:r>
        </a:p>
      </dgm:t>
    </dgm:pt>
    <dgm:pt modelId="{A98E903B-102C-4165-8FB5-8328CF692082}" type="parTrans" cxnId="{97BDF645-F546-48CD-B517-5F925BC2DD44}">
      <dgm:prSet/>
      <dgm:spPr/>
      <dgm:t>
        <a:bodyPr/>
        <a:lstStyle/>
        <a:p>
          <a:endParaRPr lang="es-ES" sz="3500">
            <a:solidFill>
              <a:schemeClr val="accent4"/>
            </a:solidFill>
            <a:latin typeface="Berlin Sans FB Demi" panose="020E0802020502020306" pitchFamily="34" charset="0"/>
          </a:endParaRPr>
        </a:p>
      </dgm:t>
    </dgm:pt>
    <dgm:pt modelId="{4C2E3849-BAAB-4E31-8A63-9B6505970FEF}" type="sibTrans" cxnId="{97BDF645-F546-48CD-B517-5F925BC2DD44}">
      <dgm:prSet/>
      <dgm:spPr/>
      <dgm:t>
        <a:bodyPr/>
        <a:lstStyle/>
        <a:p>
          <a:endParaRPr lang="es-ES" sz="3500">
            <a:solidFill>
              <a:schemeClr val="accent4"/>
            </a:solidFill>
            <a:latin typeface="Berlin Sans FB Demi" panose="020E0802020502020306" pitchFamily="34" charset="0"/>
          </a:endParaRPr>
        </a:p>
      </dgm:t>
    </dgm:pt>
    <dgm:pt modelId="{FE5BD082-CCA9-4D04-A867-FFB94BB15699}">
      <dgm:prSet phldrT="[Texto]" custT="1"/>
      <dgm:spPr/>
      <dgm:t>
        <a:bodyPr/>
        <a:lstStyle/>
        <a:p>
          <a:r>
            <a:rPr lang="es-ES" sz="35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22 </a:t>
          </a:r>
          <a:br>
            <a:rPr lang="es-ES" sz="35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</a:br>
          <a:r>
            <a:rPr lang="es-ES" sz="1800" b="1" dirty="0">
              <a:effectLst/>
              <a:latin typeface="+mj-lt"/>
            </a:rPr>
            <a:t>Proyectos Productivos en ejecución</a:t>
          </a:r>
          <a:endParaRPr lang="es-ES" sz="35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+mj-lt"/>
          </a:endParaRPr>
        </a:p>
      </dgm:t>
    </dgm:pt>
    <dgm:pt modelId="{D925A39A-38EF-4C21-B234-23F5447B19D4}" type="parTrans" cxnId="{7843D38D-5743-4A41-84D1-9C707C3F48F2}">
      <dgm:prSet/>
      <dgm:spPr/>
      <dgm:t>
        <a:bodyPr/>
        <a:lstStyle/>
        <a:p>
          <a:endParaRPr lang="es-ES" sz="3500">
            <a:solidFill>
              <a:schemeClr val="accent4"/>
            </a:solidFill>
            <a:latin typeface="Berlin Sans FB Demi" panose="020E0802020502020306" pitchFamily="34" charset="0"/>
          </a:endParaRPr>
        </a:p>
      </dgm:t>
    </dgm:pt>
    <dgm:pt modelId="{C385AF21-A429-4BC5-9341-B5B3D967BBFD}" type="sibTrans" cxnId="{7843D38D-5743-4A41-84D1-9C707C3F48F2}">
      <dgm:prSet/>
      <dgm:spPr/>
      <dgm:t>
        <a:bodyPr/>
        <a:lstStyle/>
        <a:p>
          <a:endParaRPr lang="es-ES" sz="3500">
            <a:solidFill>
              <a:schemeClr val="accent4"/>
            </a:solidFill>
            <a:latin typeface="Berlin Sans FB Demi" panose="020E0802020502020306" pitchFamily="34" charset="0"/>
          </a:endParaRPr>
        </a:p>
      </dgm:t>
    </dgm:pt>
    <dgm:pt modelId="{EA1DA22B-617B-4481-B54D-E1C81D5F474B}" type="pres">
      <dgm:prSet presAssocID="{8A71E719-6A2B-4E47-8371-A8751FEB126F}" presName="Name0" presStyleCnt="0">
        <dgm:presLayoutVars>
          <dgm:dir/>
          <dgm:animLvl val="lvl"/>
          <dgm:resizeHandles val="exact"/>
        </dgm:presLayoutVars>
      </dgm:prSet>
      <dgm:spPr/>
    </dgm:pt>
    <dgm:pt modelId="{5AEB8C17-4D68-4CB2-85BB-F9C1CC95C407}" type="pres">
      <dgm:prSet presAssocID="{9E626E92-5C55-4402-A2E7-62292B317E66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B738CBEA-5C1A-4C9A-AF3D-4E38748D7502}" type="pres">
      <dgm:prSet presAssocID="{4C2E3849-BAAB-4E31-8A63-9B6505970FEF}" presName="parTxOnlySpace" presStyleCnt="0"/>
      <dgm:spPr/>
    </dgm:pt>
    <dgm:pt modelId="{A0A0F9EC-02EE-4769-8C86-14156B172568}" type="pres">
      <dgm:prSet presAssocID="{FE5BD082-CCA9-4D04-A867-FFB94BB15699}" presName="parTxOnly" presStyleLbl="node1" presStyleIdx="1" presStyleCnt="2" custLinFactNeighborX="-23110" custLinFactNeighborY="-635">
        <dgm:presLayoutVars>
          <dgm:chMax val="0"/>
          <dgm:chPref val="0"/>
          <dgm:bulletEnabled val="1"/>
        </dgm:presLayoutVars>
      </dgm:prSet>
      <dgm:spPr/>
    </dgm:pt>
  </dgm:ptLst>
  <dgm:cxnLst>
    <dgm:cxn modelId="{C7E7FC04-C1C4-4803-AE83-B57F25A51FF8}" type="presOf" srcId="{9E626E92-5C55-4402-A2E7-62292B317E66}" destId="{5AEB8C17-4D68-4CB2-85BB-F9C1CC95C407}" srcOrd="0" destOrd="0" presId="urn:microsoft.com/office/officeart/2005/8/layout/chevron1"/>
    <dgm:cxn modelId="{97BDF645-F546-48CD-B517-5F925BC2DD44}" srcId="{8A71E719-6A2B-4E47-8371-A8751FEB126F}" destId="{9E626E92-5C55-4402-A2E7-62292B317E66}" srcOrd="0" destOrd="0" parTransId="{A98E903B-102C-4165-8FB5-8328CF692082}" sibTransId="{4C2E3849-BAAB-4E31-8A63-9B6505970FEF}"/>
    <dgm:cxn modelId="{7843D38D-5743-4A41-84D1-9C707C3F48F2}" srcId="{8A71E719-6A2B-4E47-8371-A8751FEB126F}" destId="{FE5BD082-CCA9-4D04-A867-FFB94BB15699}" srcOrd="1" destOrd="0" parTransId="{D925A39A-38EF-4C21-B234-23F5447B19D4}" sibTransId="{C385AF21-A429-4BC5-9341-B5B3D967BBFD}"/>
    <dgm:cxn modelId="{1A5B06C3-A57C-4A9C-8389-1E37DBA76ED6}" type="presOf" srcId="{8A71E719-6A2B-4E47-8371-A8751FEB126F}" destId="{EA1DA22B-617B-4481-B54D-E1C81D5F474B}" srcOrd="0" destOrd="0" presId="urn:microsoft.com/office/officeart/2005/8/layout/chevron1"/>
    <dgm:cxn modelId="{DC1542C7-084E-46CA-8BE9-5AE089FC71CD}" type="presOf" srcId="{FE5BD082-CCA9-4D04-A867-FFB94BB15699}" destId="{A0A0F9EC-02EE-4769-8C86-14156B172568}" srcOrd="0" destOrd="0" presId="urn:microsoft.com/office/officeart/2005/8/layout/chevron1"/>
    <dgm:cxn modelId="{CDA14DE7-4ACF-4B26-BA60-D0DED25D4DD4}" type="presParOf" srcId="{EA1DA22B-617B-4481-B54D-E1C81D5F474B}" destId="{5AEB8C17-4D68-4CB2-85BB-F9C1CC95C407}" srcOrd="0" destOrd="0" presId="urn:microsoft.com/office/officeart/2005/8/layout/chevron1"/>
    <dgm:cxn modelId="{4D64FD28-0907-4A1A-8B85-21D791F57785}" type="presParOf" srcId="{EA1DA22B-617B-4481-B54D-E1C81D5F474B}" destId="{B738CBEA-5C1A-4C9A-AF3D-4E38748D7502}" srcOrd="1" destOrd="0" presId="urn:microsoft.com/office/officeart/2005/8/layout/chevron1"/>
    <dgm:cxn modelId="{59405506-4655-40E9-8446-37E51845526E}" type="presParOf" srcId="{EA1DA22B-617B-4481-B54D-E1C81D5F474B}" destId="{A0A0F9EC-02EE-4769-8C86-14156B172568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A71E719-6A2B-4E47-8371-A8751FEB126F}" type="doc">
      <dgm:prSet loTypeId="urn:microsoft.com/office/officeart/2005/8/layout/chevron1" loCatId="process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es-ES"/>
        </a:p>
      </dgm:t>
    </dgm:pt>
    <dgm:pt modelId="{9E626E92-5C55-4402-A2E7-62292B317E66}">
      <dgm:prSet phldrT="[Texto]" custT="1"/>
      <dgm:spPr/>
      <dgm:t>
        <a:bodyPr/>
        <a:lstStyle/>
        <a:p>
          <a:r>
            <a:rPr lang="es-ES" sz="3200" b="1" dirty="0">
              <a:effectLst/>
              <a:latin typeface="+mj-lt"/>
            </a:rPr>
            <a:t>6.384</a:t>
          </a:r>
        </a:p>
        <a:p>
          <a:r>
            <a:rPr lang="es-ES" sz="1800" b="1" dirty="0">
              <a:effectLst/>
              <a:latin typeface="+mj-lt"/>
            </a:rPr>
            <a:t>Personas beneficiadas</a:t>
          </a:r>
        </a:p>
      </dgm:t>
    </dgm:pt>
    <dgm:pt modelId="{A98E903B-102C-4165-8FB5-8328CF692082}" type="parTrans" cxnId="{97BDF645-F546-48CD-B517-5F925BC2DD44}">
      <dgm:prSet/>
      <dgm:spPr/>
      <dgm:t>
        <a:bodyPr/>
        <a:lstStyle/>
        <a:p>
          <a:endParaRPr lang="es-ES" sz="3500">
            <a:solidFill>
              <a:schemeClr val="tx1"/>
            </a:solidFill>
            <a:latin typeface="Berlin Sans FB Demi" panose="020E0802020502020306" pitchFamily="34" charset="0"/>
          </a:endParaRPr>
        </a:p>
      </dgm:t>
    </dgm:pt>
    <dgm:pt modelId="{4C2E3849-BAAB-4E31-8A63-9B6505970FEF}" type="sibTrans" cxnId="{97BDF645-F546-48CD-B517-5F925BC2DD44}">
      <dgm:prSet/>
      <dgm:spPr/>
      <dgm:t>
        <a:bodyPr/>
        <a:lstStyle/>
        <a:p>
          <a:endParaRPr lang="es-ES" sz="3500">
            <a:solidFill>
              <a:schemeClr val="tx1"/>
            </a:solidFill>
            <a:latin typeface="Berlin Sans FB Demi" panose="020E0802020502020306" pitchFamily="34" charset="0"/>
          </a:endParaRPr>
        </a:p>
      </dgm:t>
    </dgm:pt>
    <dgm:pt modelId="{FE5BD082-CCA9-4D04-A867-FFB94BB15699}">
      <dgm:prSet phldrT="[Texto]" custT="1"/>
      <dgm:spPr/>
      <dgm:t>
        <a:bodyPr/>
        <a:lstStyle/>
        <a:p>
          <a:r>
            <a:rPr lang="es-ES" sz="35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1.193</a:t>
          </a:r>
        </a:p>
        <a:p>
          <a:r>
            <a:rPr lang="es-ES" sz="1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Familias beneficiadas</a:t>
          </a:r>
        </a:p>
      </dgm:t>
    </dgm:pt>
    <dgm:pt modelId="{D925A39A-38EF-4C21-B234-23F5447B19D4}" type="parTrans" cxnId="{7843D38D-5743-4A41-84D1-9C707C3F48F2}">
      <dgm:prSet/>
      <dgm:spPr/>
      <dgm:t>
        <a:bodyPr/>
        <a:lstStyle/>
        <a:p>
          <a:endParaRPr lang="es-ES" sz="3500">
            <a:solidFill>
              <a:schemeClr val="tx1"/>
            </a:solidFill>
            <a:latin typeface="Berlin Sans FB Demi" panose="020E0802020502020306" pitchFamily="34" charset="0"/>
          </a:endParaRPr>
        </a:p>
      </dgm:t>
    </dgm:pt>
    <dgm:pt modelId="{C385AF21-A429-4BC5-9341-B5B3D967BBFD}" type="sibTrans" cxnId="{7843D38D-5743-4A41-84D1-9C707C3F48F2}">
      <dgm:prSet/>
      <dgm:spPr/>
      <dgm:t>
        <a:bodyPr/>
        <a:lstStyle/>
        <a:p>
          <a:endParaRPr lang="es-ES" sz="3500">
            <a:solidFill>
              <a:schemeClr val="tx1"/>
            </a:solidFill>
            <a:latin typeface="Berlin Sans FB Demi" panose="020E0802020502020306" pitchFamily="34" charset="0"/>
          </a:endParaRPr>
        </a:p>
      </dgm:t>
    </dgm:pt>
    <dgm:pt modelId="{EA1DA22B-617B-4481-B54D-E1C81D5F474B}" type="pres">
      <dgm:prSet presAssocID="{8A71E719-6A2B-4E47-8371-A8751FEB126F}" presName="Name0" presStyleCnt="0">
        <dgm:presLayoutVars>
          <dgm:dir/>
          <dgm:animLvl val="lvl"/>
          <dgm:resizeHandles val="exact"/>
        </dgm:presLayoutVars>
      </dgm:prSet>
      <dgm:spPr/>
    </dgm:pt>
    <dgm:pt modelId="{5AEB8C17-4D68-4CB2-85BB-F9C1CC95C407}" type="pres">
      <dgm:prSet presAssocID="{9E626E92-5C55-4402-A2E7-62292B317E66}" presName="parTxOnly" presStyleLbl="node1" presStyleIdx="0" presStyleCnt="2">
        <dgm:presLayoutVars>
          <dgm:chMax val="0"/>
          <dgm:chPref val="0"/>
          <dgm:bulletEnabled val="1"/>
        </dgm:presLayoutVars>
      </dgm:prSet>
      <dgm:spPr/>
    </dgm:pt>
    <dgm:pt modelId="{B738CBEA-5C1A-4C9A-AF3D-4E38748D7502}" type="pres">
      <dgm:prSet presAssocID="{4C2E3849-BAAB-4E31-8A63-9B6505970FEF}" presName="parTxOnlySpace" presStyleCnt="0"/>
      <dgm:spPr/>
    </dgm:pt>
    <dgm:pt modelId="{A0A0F9EC-02EE-4769-8C86-14156B172568}" type="pres">
      <dgm:prSet presAssocID="{FE5BD082-CCA9-4D04-A867-FFB94BB15699}" presName="parTxOnly" presStyleLbl="node1" presStyleIdx="1" presStyleCnt="2" custLinFactNeighborX="-23110" custLinFactNeighborY="-635">
        <dgm:presLayoutVars>
          <dgm:chMax val="0"/>
          <dgm:chPref val="0"/>
          <dgm:bulletEnabled val="1"/>
        </dgm:presLayoutVars>
      </dgm:prSet>
      <dgm:spPr/>
    </dgm:pt>
  </dgm:ptLst>
  <dgm:cxnLst>
    <dgm:cxn modelId="{C7E7FC04-C1C4-4803-AE83-B57F25A51FF8}" type="presOf" srcId="{9E626E92-5C55-4402-A2E7-62292B317E66}" destId="{5AEB8C17-4D68-4CB2-85BB-F9C1CC95C407}" srcOrd="0" destOrd="0" presId="urn:microsoft.com/office/officeart/2005/8/layout/chevron1"/>
    <dgm:cxn modelId="{97BDF645-F546-48CD-B517-5F925BC2DD44}" srcId="{8A71E719-6A2B-4E47-8371-A8751FEB126F}" destId="{9E626E92-5C55-4402-A2E7-62292B317E66}" srcOrd="0" destOrd="0" parTransId="{A98E903B-102C-4165-8FB5-8328CF692082}" sibTransId="{4C2E3849-BAAB-4E31-8A63-9B6505970FEF}"/>
    <dgm:cxn modelId="{7843D38D-5743-4A41-84D1-9C707C3F48F2}" srcId="{8A71E719-6A2B-4E47-8371-A8751FEB126F}" destId="{FE5BD082-CCA9-4D04-A867-FFB94BB15699}" srcOrd="1" destOrd="0" parTransId="{D925A39A-38EF-4C21-B234-23F5447B19D4}" sibTransId="{C385AF21-A429-4BC5-9341-B5B3D967BBFD}"/>
    <dgm:cxn modelId="{1A5B06C3-A57C-4A9C-8389-1E37DBA76ED6}" type="presOf" srcId="{8A71E719-6A2B-4E47-8371-A8751FEB126F}" destId="{EA1DA22B-617B-4481-B54D-E1C81D5F474B}" srcOrd="0" destOrd="0" presId="urn:microsoft.com/office/officeart/2005/8/layout/chevron1"/>
    <dgm:cxn modelId="{DC1542C7-084E-46CA-8BE9-5AE089FC71CD}" type="presOf" srcId="{FE5BD082-CCA9-4D04-A867-FFB94BB15699}" destId="{A0A0F9EC-02EE-4769-8C86-14156B172568}" srcOrd="0" destOrd="0" presId="urn:microsoft.com/office/officeart/2005/8/layout/chevron1"/>
    <dgm:cxn modelId="{CDA14DE7-4ACF-4B26-BA60-D0DED25D4DD4}" type="presParOf" srcId="{EA1DA22B-617B-4481-B54D-E1C81D5F474B}" destId="{5AEB8C17-4D68-4CB2-85BB-F9C1CC95C407}" srcOrd="0" destOrd="0" presId="urn:microsoft.com/office/officeart/2005/8/layout/chevron1"/>
    <dgm:cxn modelId="{4D64FD28-0907-4A1A-8B85-21D791F57785}" type="presParOf" srcId="{EA1DA22B-617B-4481-B54D-E1C81D5F474B}" destId="{B738CBEA-5C1A-4C9A-AF3D-4E38748D7502}" srcOrd="1" destOrd="0" presId="urn:microsoft.com/office/officeart/2005/8/layout/chevron1"/>
    <dgm:cxn modelId="{59405506-4655-40E9-8446-37E51845526E}" type="presParOf" srcId="{EA1DA22B-617B-4481-B54D-E1C81D5F474B}" destId="{A0A0F9EC-02EE-4769-8C86-14156B172568}" srcOrd="2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1A531A3-5541-4322-9EA7-98079A0F0C10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AA6C4705-9116-474E-8C8E-474542C2B7A3}">
      <dgm:prSet phldrT="[Texto]" custT="1"/>
      <dgm:spPr>
        <a:solidFill>
          <a:schemeClr val="accent5">
            <a:lumMod val="60000"/>
            <a:lumOff val="40000"/>
          </a:schemeClr>
        </a:solidFill>
        <a:ln>
          <a:solidFill>
            <a:schemeClr val="accent5"/>
          </a:solidFill>
        </a:ln>
      </dgm:spPr>
      <dgm:t>
        <a:bodyPr/>
        <a:lstStyle/>
        <a:p>
          <a:r>
            <a:rPr lang="es-ES" sz="4000" b="1" dirty="0">
              <a:solidFill>
                <a:schemeClr val="accent4">
                  <a:lumMod val="50000"/>
                </a:schemeClr>
              </a:solidFill>
              <a:latin typeface="+mj-lt"/>
            </a:rPr>
            <a:t>18.870</a:t>
          </a:r>
        </a:p>
        <a:p>
          <a:r>
            <a:rPr lang="es-ES" sz="1900" b="1" dirty="0">
              <a:solidFill>
                <a:schemeClr val="accent4">
                  <a:lumMod val="50000"/>
                </a:schemeClr>
              </a:solidFill>
              <a:latin typeface="+mj-lt"/>
            </a:rPr>
            <a:t>PERSONAS CAPACITADAS</a:t>
          </a:r>
        </a:p>
      </dgm:t>
    </dgm:pt>
    <dgm:pt modelId="{5F346F1F-8BA3-448F-BB31-FDB929B6586A}" type="sibTrans" cxnId="{FD190276-6DF6-4614-897C-6E11046CF86B}">
      <dgm:prSet custT="1"/>
      <dgm:spPr>
        <a:solidFill>
          <a:schemeClr val="accent6">
            <a:lumMod val="40000"/>
            <a:lumOff val="60000"/>
          </a:schemeClr>
        </a:solidFill>
        <a:ln>
          <a:solidFill>
            <a:schemeClr val="tx1"/>
          </a:solidFill>
        </a:ln>
        <a:scene3d>
          <a:camera prst="obliqueTopRight"/>
          <a:lightRig rig="threePt" dir="t"/>
        </a:scene3d>
      </dgm:spPr>
      <dgm:t>
        <a:bodyPr/>
        <a:lstStyle/>
        <a:p>
          <a:r>
            <a:rPr lang="es-ES" sz="4000" b="1" dirty="0">
              <a:solidFill>
                <a:schemeClr val="accent4">
                  <a:lumMod val="50000"/>
                </a:schemeClr>
              </a:solidFill>
              <a:latin typeface="+mj-lt"/>
            </a:rPr>
            <a:t>2.959</a:t>
          </a:r>
        </a:p>
        <a:p>
          <a:r>
            <a:rPr lang="es-ES" sz="1900" b="1" dirty="0">
              <a:solidFill>
                <a:schemeClr val="accent4">
                  <a:lumMod val="50000"/>
                </a:schemeClr>
              </a:solidFill>
              <a:latin typeface="+mj-lt"/>
            </a:rPr>
            <a:t>CAPACITACIONES EJECUTADAS POR SENA Y OTROS</a:t>
          </a:r>
        </a:p>
      </dgm:t>
    </dgm:pt>
    <dgm:pt modelId="{806B6F6F-EA84-461C-AB64-BF34278326B9}" type="parTrans" cxnId="{FD190276-6DF6-4614-897C-6E11046CF86B}">
      <dgm:prSet/>
      <dgm:spPr/>
      <dgm:t>
        <a:bodyPr/>
        <a:lstStyle/>
        <a:p>
          <a:endParaRPr lang="es-ES" b="1"/>
        </a:p>
      </dgm:t>
    </dgm:pt>
    <dgm:pt modelId="{7B18CFC1-493C-4073-8274-E50A5020346A}" type="pres">
      <dgm:prSet presAssocID="{61A531A3-5541-4322-9EA7-98079A0F0C10}" presName="Name0" presStyleCnt="0">
        <dgm:presLayoutVars>
          <dgm:chMax/>
          <dgm:chPref/>
          <dgm:dir/>
          <dgm:animLvl val="lvl"/>
        </dgm:presLayoutVars>
      </dgm:prSet>
      <dgm:spPr/>
    </dgm:pt>
    <dgm:pt modelId="{B6581EFA-C2BC-4863-89D2-2A6E750E8281}" type="pres">
      <dgm:prSet presAssocID="{AA6C4705-9116-474E-8C8E-474542C2B7A3}" presName="composite" presStyleCnt="0"/>
      <dgm:spPr/>
    </dgm:pt>
    <dgm:pt modelId="{A865DDD9-AD62-4249-994F-4821C3E01440}" type="pres">
      <dgm:prSet presAssocID="{AA6C4705-9116-474E-8C8E-474542C2B7A3}" presName="Parent1" presStyleLbl="node1" presStyleIdx="0" presStyleCnt="2" custScaleX="152583" custScaleY="152983" custLinFactNeighborX="25770" custLinFactNeighborY="-2686">
        <dgm:presLayoutVars>
          <dgm:chMax val="1"/>
          <dgm:chPref val="1"/>
          <dgm:bulletEnabled val="1"/>
        </dgm:presLayoutVars>
      </dgm:prSet>
      <dgm:spPr/>
    </dgm:pt>
    <dgm:pt modelId="{F70FD559-85AC-41A5-9DEC-E8E448238724}" type="pres">
      <dgm:prSet presAssocID="{AA6C4705-9116-474E-8C8E-474542C2B7A3}" presName="Childtext1" presStyleLbl="revTx" presStyleIdx="0" presStyleCnt="1">
        <dgm:presLayoutVars>
          <dgm:chMax val="0"/>
          <dgm:chPref val="0"/>
          <dgm:bulletEnabled val="1"/>
        </dgm:presLayoutVars>
      </dgm:prSet>
      <dgm:spPr/>
    </dgm:pt>
    <dgm:pt modelId="{3DCE88A7-BEA0-4115-8FEC-B527A8CE490F}" type="pres">
      <dgm:prSet presAssocID="{AA6C4705-9116-474E-8C8E-474542C2B7A3}" presName="BalanceSpacing" presStyleCnt="0"/>
      <dgm:spPr/>
    </dgm:pt>
    <dgm:pt modelId="{AE19049B-A10C-4DED-8C62-CB35DEB148F5}" type="pres">
      <dgm:prSet presAssocID="{AA6C4705-9116-474E-8C8E-474542C2B7A3}" presName="BalanceSpacing1" presStyleCnt="0"/>
      <dgm:spPr/>
    </dgm:pt>
    <dgm:pt modelId="{B7C57C54-EBE1-4755-8341-2F17A39122D7}" type="pres">
      <dgm:prSet presAssocID="{5F346F1F-8BA3-448F-BB31-FDB929B6586A}" presName="Accent1Text" presStyleLbl="node1" presStyleIdx="1" presStyleCnt="2" custScaleX="148138" custScaleY="150046" custLinFactNeighborX="-29118" custLinFactNeighborY="-3475"/>
      <dgm:spPr/>
    </dgm:pt>
  </dgm:ptLst>
  <dgm:cxnLst>
    <dgm:cxn modelId="{442E3153-2093-4489-B4E3-ECC2263AC0FF}" type="presOf" srcId="{61A531A3-5541-4322-9EA7-98079A0F0C10}" destId="{7B18CFC1-493C-4073-8274-E50A5020346A}" srcOrd="0" destOrd="0" presId="urn:microsoft.com/office/officeart/2008/layout/AlternatingHexagons"/>
    <dgm:cxn modelId="{FD190276-6DF6-4614-897C-6E11046CF86B}" srcId="{61A531A3-5541-4322-9EA7-98079A0F0C10}" destId="{AA6C4705-9116-474E-8C8E-474542C2B7A3}" srcOrd="0" destOrd="0" parTransId="{806B6F6F-EA84-461C-AB64-BF34278326B9}" sibTransId="{5F346F1F-8BA3-448F-BB31-FDB929B6586A}"/>
    <dgm:cxn modelId="{BE373657-B490-4EEF-9EBA-96BDE9DB424E}" type="presOf" srcId="{AA6C4705-9116-474E-8C8E-474542C2B7A3}" destId="{A865DDD9-AD62-4249-994F-4821C3E01440}" srcOrd="0" destOrd="0" presId="urn:microsoft.com/office/officeart/2008/layout/AlternatingHexagons"/>
    <dgm:cxn modelId="{8EC9348C-5F34-44B8-B66C-368E99874F3C}" type="presOf" srcId="{5F346F1F-8BA3-448F-BB31-FDB929B6586A}" destId="{B7C57C54-EBE1-4755-8341-2F17A39122D7}" srcOrd="0" destOrd="0" presId="urn:microsoft.com/office/officeart/2008/layout/AlternatingHexagons"/>
    <dgm:cxn modelId="{93FC28D5-3417-447A-BAC6-DA52DB2BDB80}" type="presParOf" srcId="{7B18CFC1-493C-4073-8274-E50A5020346A}" destId="{B6581EFA-C2BC-4863-89D2-2A6E750E8281}" srcOrd="0" destOrd="0" presId="urn:microsoft.com/office/officeart/2008/layout/AlternatingHexagons"/>
    <dgm:cxn modelId="{697EFB2C-9908-4A28-98F8-9F27E104D4BD}" type="presParOf" srcId="{B6581EFA-C2BC-4863-89D2-2A6E750E8281}" destId="{A865DDD9-AD62-4249-994F-4821C3E01440}" srcOrd="0" destOrd="0" presId="urn:microsoft.com/office/officeart/2008/layout/AlternatingHexagons"/>
    <dgm:cxn modelId="{CC24D6FB-0656-48E6-B7CA-3C4C0B238A71}" type="presParOf" srcId="{B6581EFA-C2BC-4863-89D2-2A6E750E8281}" destId="{F70FD559-85AC-41A5-9DEC-E8E448238724}" srcOrd="1" destOrd="0" presId="urn:microsoft.com/office/officeart/2008/layout/AlternatingHexagons"/>
    <dgm:cxn modelId="{70CFAC29-B4D8-4FC5-A82D-90374E54BA4A}" type="presParOf" srcId="{B6581EFA-C2BC-4863-89D2-2A6E750E8281}" destId="{3DCE88A7-BEA0-4115-8FEC-B527A8CE490F}" srcOrd="2" destOrd="0" presId="urn:microsoft.com/office/officeart/2008/layout/AlternatingHexagons"/>
    <dgm:cxn modelId="{661949E5-7249-48CF-9000-806290090E65}" type="presParOf" srcId="{B6581EFA-C2BC-4863-89D2-2A6E750E8281}" destId="{AE19049B-A10C-4DED-8C62-CB35DEB148F5}" srcOrd="3" destOrd="0" presId="urn:microsoft.com/office/officeart/2008/layout/AlternatingHexagons"/>
    <dgm:cxn modelId="{A5DAC235-C4D9-40A5-B36F-31C8181DCC34}" type="presParOf" srcId="{B6581EFA-C2BC-4863-89D2-2A6E750E8281}" destId="{B7C57C54-EBE1-4755-8341-2F17A39122D7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61A531A3-5541-4322-9EA7-98079A0F0C10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AA6C4705-9116-474E-8C8E-474542C2B7A3}">
      <dgm:prSet phldrT="[Texto]" custT="1"/>
      <dgm:spPr>
        <a:solidFill>
          <a:schemeClr val="accent6">
            <a:lumMod val="40000"/>
            <a:lumOff val="60000"/>
          </a:schemeClr>
        </a:solidFill>
        <a:ln>
          <a:solidFill>
            <a:schemeClr val="accent6"/>
          </a:solidFill>
        </a:ln>
      </dgm:spPr>
      <dgm:t>
        <a:bodyPr/>
        <a:lstStyle/>
        <a:p>
          <a:r>
            <a:rPr lang="es-ES" sz="4000" b="1" dirty="0">
              <a:solidFill>
                <a:schemeClr val="accent4">
                  <a:lumMod val="50000"/>
                </a:schemeClr>
              </a:solidFill>
              <a:latin typeface="+mj-lt"/>
            </a:rPr>
            <a:t>551</a:t>
          </a:r>
        </a:p>
        <a:p>
          <a:r>
            <a:rPr lang="es-ES" sz="1600" b="1" dirty="0">
              <a:solidFill>
                <a:schemeClr val="accent4">
                  <a:lumMod val="50000"/>
                </a:schemeClr>
              </a:solidFill>
              <a:latin typeface="+mj-lt"/>
            </a:rPr>
            <a:t>CAPACITACIONES PERSONAL DE OBRA</a:t>
          </a:r>
        </a:p>
      </dgm:t>
    </dgm:pt>
    <dgm:pt modelId="{5F346F1F-8BA3-448F-BB31-FDB929B6586A}" type="sibTrans" cxnId="{FD190276-6DF6-4614-897C-6E11046CF86B}">
      <dgm:prSet custT="1"/>
      <dgm:spPr>
        <a:solidFill>
          <a:schemeClr val="accent5">
            <a:lumMod val="60000"/>
            <a:lumOff val="40000"/>
          </a:schemeClr>
        </a:solidFill>
        <a:ln>
          <a:solidFill>
            <a:schemeClr val="accent5"/>
          </a:solidFill>
        </a:ln>
        <a:scene3d>
          <a:camera prst="obliqueTopRight"/>
          <a:lightRig rig="threePt" dir="t"/>
        </a:scene3d>
      </dgm:spPr>
      <dgm:t>
        <a:bodyPr/>
        <a:lstStyle/>
        <a:p>
          <a:r>
            <a:rPr lang="es-ES" sz="4000" b="1" dirty="0">
              <a:solidFill>
                <a:schemeClr val="accent4">
                  <a:lumMod val="50000"/>
                </a:schemeClr>
              </a:solidFill>
              <a:latin typeface="+mj-lt"/>
            </a:rPr>
            <a:t>8.020</a:t>
          </a:r>
        </a:p>
        <a:p>
          <a:r>
            <a:rPr lang="es-ES" sz="1900" b="1" dirty="0">
              <a:solidFill>
                <a:schemeClr val="accent4">
                  <a:lumMod val="50000"/>
                </a:schemeClr>
              </a:solidFill>
              <a:latin typeface="+mj-lt"/>
            </a:rPr>
            <a:t>MONUMENTOS PROTEGIDOS</a:t>
          </a:r>
        </a:p>
      </dgm:t>
    </dgm:pt>
    <dgm:pt modelId="{806B6F6F-EA84-461C-AB64-BF34278326B9}" type="parTrans" cxnId="{FD190276-6DF6-4614-897C-6E11046CF86B}">
      <dgm:prSet/>
      <dgm:spPr/>
      <dgm:t>
        <a:bodyPr/>
        <a:lstStyle/>
        <a:p>
          <a:endParaRPr lang="es-ES" b="1"/>
        </a:p>
      </dgm:t>
    </dgm:pt>
    <dgm:pt modelId="{7B18CFC1-493C-4073-8274-E50A5020346A}" type="pres">
      <dgm:prSet presAssocID="{61A531A3-5541-4322-9EA7-98079A0F0C10}" presName="Name0" presStyleCnt="0">
        <dgm:presLayoutVars>
          <dgm:chMax/>
          <dgm:chPref/>
          <dgm:dir/>
          <dgm:animLvl val="lvl"/>
        </dgm:presLayoutVars>
      </dgm:prSet>
      <dgm:spPr/>
    </dgm:pt>
    <dgm:pt modelId="{B6581EFA-C2BC-4863-89D2-2A6E750E8281}" type="pres">
      <dgm:prSet presAssocID="{AA6C4705-9116-474E-8C8E-474542C2B7A3}" presName="composite" presStyleCnt="0"/>
      <dgm:spPr/>
    </dgm:pt>
    <dgm:pt modelId="{A865DDD9-AD62-4249-994F-4821C3E01440}" type="pres">
      <dgm:prSet presAssocID="{AA6C4705-9116-474E-8C8E-474542C2B7A3}" presName="Parent1" presStyleLbl="node1" presStyleIdx="0" presStyleCnt="2" custScaleX="152583" custScaleY="152983" custLinFactNeighborX="25770" custLinFactNeighborY="-2686">
        <dgm:presLayoutVars>
          <dgm:chMax val="1"/>
          <dgm:chPref val="1"/>
          <dgm:bulletEnabled val="1"/>
        </dgm:presLayoutVars>
      </dgm:prSet>
      <dgm:spPr/>
    </dgm:pt>
    <dgm:pt modelId="{F70FD559-85AC-41A5-9DEC-E8E448238724}" type="pres">
      <dgm:prSet presAssocID="{AA6C4705-9116-474E-8C8E-474542C2B7A3}" presName="Childtext1" presStyleLbl="revTx" presStyleIdx="0" presStyleCnt="1">
        <dgm:presLayoutVars>
          <dgm:chMax val="0"/>
          <dgm:chPref val="0"/>
          <dgm:bulletEnabled val="1"/>
        </dgm:presLayoutVars>
      </dgm:prSet>
      <dgm:spPr/>
    </dgm:pt>
    <dgm:pt modelId="{3DCE88A7-BEA0-4115-8FEC-B527A8CE490F}" type="pres">
      <dgm:prSet presAssocID="{AA6C4705-9116-474E-8C8E-474542C2B7A3}" presName="BalanceSpacing" presStyleCnt="0"/>
      <dgm:spPr/>
    </dgm:pt>
    <dgm:pt modelId="{AE19049B-A10C-4DED-8C62-CB35DEB148F5}" type="pres">
      <dgm:prSet presAssocID="{AA6C4705-9116-474E-8C8E-474542C2B7A3}" presName="BalanceSpacing1" presStyleCnt="0"/>
      <dgm:spPr/>
    </dgm:pt>
    <dgm:pt modelId="{B7C57C54-EBE1-4755-8341-2F17A39122D7}" type="pres">
      <dgm:prSet presAssocID="{5F346F1F-8BA3-448F-BB31-FDB929B6586A}" presName="Accent1Text" presStyleLbl="node1" presStyleIdx="1" presStyleCnt="2" custScaleX="148138" custScaleY="150046" custLinFactNeighborX="-29118" custLinFactNeighborY="-3475"/>
      <dgm:spPr/>
    </dgm:pt>
  </dgm:ptLst>
  <dgm:cxnLst>
    <dgm:cxn modelId="{442E3153-2093-4489-B4E3-ECC2263AC0FF}" type="presOf" srcId="{61A531A3-5541-4322-9EA7-98079A0F0C10}" destId="{7B18CFC1-493C-4073-8274-E50A5020346A}" srcOrd="0" destOrd="0" presId="urn:microsoft.com/office/officeart/2008/layout/AlternatingHexagons"/>
    <dgm:cxn modelId="{FD190276-6DF6-4614-897C-6E11046CF86B}" srcId="{61A531A3-5541-4322-9EA7-98079A0F0C10}" destId="{AA6C4705-9116-474E-8C8E-474542C2B7A3}" srcOrd="0" destOrd="0" parTransId="{806B6F6F-EA84-461C-AB64-BF34278326B9}" sibTransId="{5F346F1F-8BA3-448F-BB31-FDB929B6586A}"/>
    <dgm:cxn modelId="{BE373657-B490-4EEF-9EBA-96BDE9DB424E}" type="presOf" srcId="{AA6C4705-9116-474E-8C8E-474542C2B7A3}" destId="{A865DDD9-AD62-4249-994F-4821C3E01440}" srcOrd="0" destOrd="0" presId="urn:microsoft.com/office/officeart/2008/layout/AlternatingHexagons"/>
    <dgm:cxn modelId="{8EC9348C-5F34-44B8-B66C-368E99874F3C}" type="presOf" srcId="{5F346F1F-8BA3-448F-BB31-FDB929B6586A}" destId="{B7C57C54-EBE1-4755-8341-2F17A39122D7}" srcOrd="0" destOrd="0" presId="urn:microsoft.com/office/officeart/2008/layout/AlternatingHexagons"/>
    <dgm:cxn modelId="{93FC28D5-3417-447A-BAC6-DA52DB2BDB80}" type="presParOf" srcId="{7B18CFC1-493C-4073-8274-E50A5020346A}" destId="{B6581EFA-C2BC-4863-89D2-2A6E750E8281}" srcOrd="0" destOrd="0" presId="urn:microsoft.com/office/officeart/2008/layout/AlternatingHexagons"/>
    <dgm:cxn modelId="{697EFB2C-9908-4A28-98F8-9F27E104D4BD}" type="presParOf" srcId="{B6581EFA-C2BC-4863-89D2-2A6E750E8281}" destId="{A865DDD9-AD62-4249-994F-4821C3E01440}" srcOrd="0" destOrd="0" presId="urn:microsoft.com/office/officeart/2008/layout/AlternatingHexagons"/>
    <dgm:cxn modelId="{CC24D6FB-0656-48E6-B7CA-3C4C0B238A71}" type="presParOf" srcId="{B6581EFA-C2BC-4863-89D2-2A6E750E8281}" destId="{F70FD559-85AC-41A5-9DEC-E8E448238724}" srcOrd="1" destOrd="0" presId="urn:microsoft.com/office/officeart/2008/layout/AlternatingHexagons"/>
    <dgm:cxn modelId="{70CFAC29-B4D8-4FC5-A82D-90374E54BA4A}" type="presParOf" srcId="{B6581EFA-C2BC-4863-89D2-2A6E750E8281}" destId="{3DCE88A7-BEA0-4115-8FEC-B527A8CE490F}" srcOrd="2" destOrd="0" presId="urn:microsoft.com/office/officeart/2008/layout/AlternatingHexagons"/>
    <dgm:cxn modelId="{661949E5-7249-48CF-9000-806290090E65}" type="presParOf" srcId="{B6581EFA-C2BC-4863-89D2-2A6E750E8281}" destId="{AE19049B-A10C-4DED-8C62-CB35DEB148F5}" srcOrd="3" destOrd="0" presId="urn:microsoft.com/office/officeart/2008/layout/AlternatingHexagons"/>
    <dgm:cxn modelId="{A5DAC235-C4D9-40A5-B36F-31C8181DCC34}" type="presParOf" srcId="{B6581EFA-C2BC-4863-89D2-2A6E750E8281}" destId="{B7C57C54-EBE1-4755-8341-2F17A39122D7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13E21FD-647E-4CAC-BACE-E7A28E9AE760}" type="doc">
      <dgm:prSet loTypeId="urn:microsoft.com/office/officeart/2005/8/layout/hChevron3" loCatId="process" qsTypeId="urn:microsoft.com/office/officeart/2005/8/quickstyle/simple1" qsCatId="simple" csTypeId="urn:microsoft.com/office/officeart/2005/8/colors/accent5_5" csCatId="accent5" phldr="1"/>
      <dgm:spPr/>
    </dgm:pt>
    <dgm:pt modelId="{6881F89B-140E-4068-8AF2-3BA00B1B2B13}">
      <dgm:prSet phldrT="[Texto]" custT="1"/>
      <dgm:spPr/>
      <dgm:t>
        <a:bodyPr/>
        <a:lstStyle/>
        <a:p>
          <a:r>
            <a:rPr lang="es-ES" sz="3200" b="1" dirty="0">
              <a:solidFill>
                <a:schemeClr val="accent4"/>
              </a:solidFill>
            </a:rPr>
            <a:t>751</a:t>
          </a:r>
          <a:br>
            <a:rPr lang="es-ES" sz="3200" b="1" dirty="0">
              <a:solidFill>
                <a:schemeClr val="accent4"/>
              </a:solidFill>
            </a:rPr>
          </a:br>
          <a:r>
            <a:rPr lang="es-ES" sz="2000" dirty="0">
              <a:solidFill>
                <a:schemeClr val="accent4"/>
              </a:solidFill>
            </a:rPr>
            <a:t>Campañas trimestrales </a:t>
          </a:r>
        </a:p>
      </dgm:t>
    </dgm:pt>
    <dgm:pt modelId="{329F86DC-8C5C-43A5-8DF2-6DC69A526880}" type="parTrans" cxnId="{653AE243-7ECA-4428-8F03-249922577CB1}">
      <dgm:prSet/>
      <dgm:spPr/>
      <dgm:t>
        <a:bodyPr/>
        <a:lstStyle/>
        <a:p>
          <a:endParaRPr lang="es-ES" sz="2000">
            <a:solidFill>
              <a:schemeClr val="accent4"/>
            </a:solidFill>
          </a:endParaRPr>
        </a:p>
      </dgm:t>
    </dgm:pt>
    <dgm:pt modelId="{9DD76CBE-CC8C-4F35-9F1A-1F65D989BA0C}" type="sibTrans" cxnId="{653AE243-7ECA-4428-8F03-249922577CB1}">
      <dgm:prSet/>
      <dgm:spPr/>
      <dgm:t>
        <a:bodyPr/>
        <a:lstStyle/>
        <a:p>
          <a:endParaRPr lang="es-ES" sz="2000">
            <a:solidFill>
              <a:schemeClr val="accent4"/>
            </a:solidFill>
          </a:endParaRPr>
        </a:p>
      </dgm:t>
    </dgm:pt>
    <dgm:pt modelId="{526FAB3E-A2F7-4DEC-86DC-AADD45CA32D1}">
      <dgm:prSet phldrT="[Texto]" custT="1"/>
      <dgm:spPr/>
      <dgm:t>
        <a:bodyPr/>
        <a:lstStyle/>
        <a:p>
          <a:r>
            <a:rPr lang="es-ES" sz="3200" b="1" dirty="0">
              <a:solidFill>
                <a:schemeClr val="accent4"/>
              </a:solidFill>
            </a:rPr>
            <a:t>3.130</a:t>
          </a:r>
          <a:br>
            <a:rPr lang="es-ES" sz="3200" b="1" dirty="0">
              <a:solidFill>
                <a:schemeClr val="accent4"/>
              </a:solidFill>
            </a:rPr>
          </a:br>
          <a:r>
            <a:rPr lang="es-ES" sz="2000" dirty="0">
              <a:solidFill>
                <a:schemeClr val="accent4"/>
              </a:solidFill>
            </a:rPr>
            <a:t>Actividades pedagógicas de formación</a:t>
          </a:r>
        </a:p>
      </dgm:t>
    </dgm:pt>
    <dgm:pt modelId="{86826516-51DD-4898-8382-0C30D4ED2D5B}" type="parTrans" cxnId="{C299246E-8000-4635-950E-B52126316C09}">
      <dgm:prSet/>
      <dgm:spPr/>
      <dgm:t>
        <a:bodyPr/>
        <a:lstStyle/>
        <a:p>
          <a:endParaRPr lang="es-ES" sz="2000">
            <a:solidFill>
              <a:schemeClr val="accent4"/>
            </a:solidFill>
          </a:endParaRPr>
        </a:p>
      </dgm:t>
    </dgm:pt>
    <dgm:pt modelId="{915BE381-A485-4B8A-B1C6-8EF7B2E730CA}" type="sibTrans" cxnId="{C299246E-8000-4635-950E-B52126316C09}">
      <dgm:prSet/>
      <dgm:spPr/>
      <dgm:t>
        <a:bodyPr/>
        <a:lstStyle/>
        <a:p>
          <a:endParaRPr lang="es-ES" sz="2000">
            <a:solidFill>
              <a:schemeClr val="accent4"/>
            </a:solidFill>
          </a:endParaRPr>
        </a:p>
      </dgm:t>
    </dgm:pt>
    <dgm:pt modelId="{24FF3DE7-4415-4A93-91F2-0B4DFA0821D8}">
      <dgm:prSet phldrT="[Texto]" custT="1"/>
      <dgm:spPr/>
      <dgm:t>
        <a:bodyPr/>
        <a:lstStyle/>
        <a:p>
          <a:r>
            <a:rPr lang="es-ES" sz="3200" b="1" dirty="0">
              <a:solidFill>
                <a:schemeClr val="accent4"/>
              </a:solidFill>
            </a:rPr>
            <a:t>145.890</a:t>
          </a:r>
          <a:br>
            <a:rPr lang="es-ES" sz="3200" b="1" dirty="0">
              <a:solidFill>
                <a:schemeClr val="accent4"/>
              </a:solidFill>
            </a:rPr>
          </a:br>
          <a:r>
            <a:rPr lang="es-ES" sz="2000" dirty="0">
              <a:solidFill>
                <a:schemeClr val="accent4"/>
              </a:solidFill>
            </a:rPr>
            <a:t>Personas Capacitadas</a:t>
          </a:r>
        </a:p>
      </dgm:t>
    </dgm:pt>
    <dgm:pt modelId="{772E269D-32BF-4FAF-91A4-F10087A4654E}" type="parTrans" cxnId="{6E9F4EB5-7A29-44F3-8B16-6A584CDF4ED1}">
      <dgm:prSet/>
      <dgm:spPr/>
      <dgm:t>
        <a:bodyPr/>
        <a:lstStyle/>
        <a:p>
          <a:endParaRPr lang="es-ES" sz="2000">
            <a:solidFill>
              <a:schemeClr val="accent4"/>
            </a:solidFill>
          </a:endParaRPr>
        </a:p>
      </dgm:t>
    </dgm:pt>
    <dgm:pt modelId="{26D81525-A06D-4085-B5D6-07A8078FC9EA}" type="sibTrans" cxnId="{6E9F4EB5-7A29-44F3-8B16-6A584CDF4ED1}">
      <dgm:prSet/>
      <dgm:spPr/>
      <dgm:t>
        <a:bodyPr/>
        <a:lstStyle/>
        <a:p>
          <a:endParaRPr lang="es-ES" sz="2000">
            <a:solidFill>
              <a:schemeClr val="accent4"/>
            </a:solidFill>
          </a:endParaRPr>
        </a:p>
      </dgm:t>
    </dgm:pt>
    <dgm:pt modelId="{3E6BC46D-67D0-4A94-A87F-FE3BBB4B7816}" type="pres">
      <dgm:prSet presAssocID="{813E21FD-647E-4CAC-BACE-E7A28E9AE760}" presName="Name0" presStyleCnt="0">
        <dgm:presLayoutVars>
          <dgm:dir/>
          <dgm:resizeHandles val="exact"/>
        </dgm:presLayoutVars>
      </dgm:prSet>
      <dgm:spPr/>
    </dgm:pt>
    <dgm:pt modelId="{434367AD-579B-448D-A5F0-DAB18EC5D94B}" type="pres">
      <dgm:prSet presAssocID="{6881F89B-140E-4068-8AF2-3BA00B1B2B13}" presName="parTxOnly" presStyleLbl="node1" presStyleIdx="0" presStyleCnt="3" custScaleY="125542">
        <dgm:presLayoutVars>
          <dgm:bulletEnabled val="1"/>
        </dgm:presLayoutVars>
      </dgm:prSet>
      <dgm:spPr/>
    </dgm:pt>
    <dgm:pt modelId="{7F959701-3405-4246-B106-A6EEFF77C084}" type="pres">
      <dgm:prSet presAssocID="{9DD76CBE-CC8C-4F35-9F1A-1F65D989BA0C}" presName="parSpace" presStyleCnt="0"/>
      <dgm:spPr/>
    </dgm:pt>
    <dgm:pt modelId="{D89104A6-D2F3-4CF7-8D3F-BECC8DBB3D0D}" type="pres">
      <dgm:prSet presAssocID="{526FAB3E-A2F7-4DEC-86DC-AADD45CA32D1}" presName="parTxOnly" presStyleLbl="node1" presStyleIdx="1" presStyleCnt="3" custScaleY="127728">
        <dgm:presLayoutVars>
          <dgm:bulletEnabled val="1"/>
        </dgm:presLayoutVars>
      </dgm:prSet>
      <dgm:spPr/>
    </dgm:pt>
    <dgm:pt modelId="{2718ADD1-8731-444E-A030-F0B1A3BA4644}" type="pres">
      <dgm:prSet presAssocID="{915BE381-A485-4B8A-B1C6-8EF7B2E730CA}" presName="parSpace" presStyleCnt="0"/>
      <dgm:spPr/>
    </dgm:pt>
    <dgm:pt modelId="{49EC23A5-DB31-47FD-A971-87EEAFDA1273}" type="pres">
      <dgm:prSet presAssocID="{24FF3DE7-4415-4A93-91F2-0B4DFA0821D8}" presName="parTxOnly" presStyleLbl="node1" presStyleIdx="2" presStyleCnt="3" custScaleY="127728">
        <dgm:presLayoutVars>
          <dgm:bulletEnabled val="1"/>
        </dgm:presLayoutVars>
      </dgm:prSet>
      <dgm:spPr/>
    </dgm:pt>
  </dgm:ptLst>
  <dgm:cxnLst>
    <dgm:cxn modelId="{60072A16-42A1-4E3C-B907-398E78BC0BEE}" type="presOf" srcId="{813E21FD-647E-4CAC-BACE-E7A28E9AE760}" destId="{3E6BC46D-67D0-4A94-A87F-FE3BBB4B7816}" srcOrd="0" destOrd="0" presId="urn:microsoft.com/office/officeart/2005/8/layout/hChevron3"/>
    <dgm:cxn modelId="{653AE243-7ECA-4428-8F03-249922577CB1}" srcId="{813E21FD-647E-4CAC-BACE-E7A28E9AE760}" destId="{6881F89B-140E-4068-8AF2-3BA00B1B2B13}" srcOrd="0" destOrd="0" parTransId="{329F86DC-8C5C-43A5-8DF2-6DC69A526880}" sibTransId="{9DD76CBE-CC8C-4F35-9F1A-1F65D989BA0C}"/>
    <dgm:cxn modelId="{C299246E-8000-4635-950E-B52126316C09}" srcId="{813E21FD-647E-4CAC-BACE-E7A28E9AE760}" destId="{526FAB3E-A2F7-4DEC-86DC-AADD45CA32D1}" srcOrd="1" destOrd="0" parTransId="{86826516-51DD-4898-8382-0C30D4ED2D5B}" sibTransId="{915BE381-A485-4B8A-B1C6-8EF7B2E730CA}"/>
    <dgm:cxn modelId="{A3F9F486-EF63-4D78-87A0-9E1A256457AD}" type="presOf" srcId="{6881F89B-140E-4068-8AF2-3BA00B1B2B13}" destId="{434367AD-579B-448D-A5F0-DAB18EC5D94B}" srcOrd="0" destOrd="0" presId="urn:microsoft.com/office/officeart/2005/8/layout/hChevron3"/>
    <dgm:cxn modelId="{53B8DC96-199F-49A3-AA05-46914B97A716}" type="presOf" srcId="{24FF3DE7-4415-4A93-91F2-0B4DFA0821D8}" destId="{49EC23A5-DB31-47FD-A971-87EEAFDA1273}" srcOrd="0" destOrd="0" presId="urn:microsoft.com/office/officeart/2005/8/layout/hChevron3"/>
    <dgm:cxn modelId="{6E9F4EB5-7A29-44F3-8B16-6A584CDF4ED1}" srcId="{813E21FD-647E-4CAC-BACE-E7A28E9AE760}" destId="{24FF3DE7-4415-4A93-91F2-0B4DFA0821D8}" srcOrd="2" destOrd="0" parTransId="{772E269D-32BF-4FAF-91A4-F10087A4654E}" sibTransId="{26D81525-A06D-4085-B5D6-07A8078FC9EA}"/>
    <dgm:cxn modelId="{B9CB6FC6-CDCE-4668-B426-2331BC5382EA}" type="presOf" srcId="{526FAB3E-A2F7-4DEC-86DC-AADD45CA32D1}" destId="{D89104A6-D2F3-4CF7-8D3F-BECC8DBB3D0D}" srcOrd="0" destOrd="0" presId="urn:microsoft.com/office/officeart/2005/8/layout/hChevron3"/>
    <dgm:cxn modelId="{CBB941A0-89FF-4EAE-B1A6-E8477CC8D04F}" type="presParOf" srcId="{3E6BC46D-67D0-4A94-A87F-FE3BBB4B7816}" destId="{434367AD-579B-448D-A5F0-DAB18EC5D94B}" srcOrd="0" destOrd="0" presId="urn:microsoft.com/office/officeart/2005/8/layout/hChevron3"/>
    <dgm:cxn modelId="{9B0C7A72-CCC7-4DA3-A70E-F31B4E47B3A0}" type="presParOf" srcId="{3E6BC46D-67D0-4A94-A87F-FE3BBB4B7816}" destId="{7F959701-3405-4246-B106-A6EEFF77C084}" srcOrd="1" destOrd="0" presId="urn:microsoft.com/office/officeart/2005/8/layout/hChevron3"/>
    <dgm:cxn modelId="{FFE3CC12-22AA-44F8-855F-C5CF66A1C484}" type="presParOf" srcId="{3E6BC46D-67D0-4A94-A87F-FE3BBB4B7816}" destId="{D89104A6-D2F3-4CF7-8D3F-BECC8DBB3D0D}" srcOrd="2" destOrd="0" presId="urn:microsoft.com/office/officeart/2005/8/layout/hChevron3"/>
    <dgm:cxn modelId="{F51F8CC6-6BA9-4A06-A73B-691023DBF42B}" type="presParOf" srcId="{3E6BC46D-67D0-4A94-A87F-FE3BBB4B7816}" destId="{2718ADD1-8731-444E-A030-F0B1A3BA4644}" srcOrd="3" destOrd="0" presId="urn:microsoft.com/office/officeart/2005/8/layout/hChevron3"/>
    <dgm:cxn modelId="{4DF79DE3-A577-470E-876A-C85CD9D3D363}" type="presParOf" srcId="{3E6BC46D-67D0-4A94-A87F-FE3BBB4B7816}" destId="{49EC23A5-DB31-47FD-A971-87EEAFDA1273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573CFAA-CD00-42BB-B391-B38D225FE03B}" type="doc">
      <dgm:prSet loTypeId="urn:microsoft.com/office/officeart/2005/8/layout/hList6" loCatId="list" qsTypeId="urn:microsoft.com/office/officeart/2005/8/quickstyle/simple1" qsCatId="simple" csTypeId="urn:microsoft.com/office/officeart/2005/8/colors/accent5_5" csCatId="accent5" phldr="1"/>
      <dgm:spPr/>
      <dgm:t>
        <a:bodyPr/>
        <a:lstStyle/>
        <a:p>
          <a:endParaRPr lang="es-ES"/>
        </a:p>
      </dgm:t>
    </dgm:pt>
    <dgm:pt modelId="{016C8797-9C36-4237-B69A-35A21283E52F}">
      <dgm:prSet phldrT="[Texto]" custT="1"/>
      <dgm:spPr/>
      <dgm:t>
        <a:bodyPr/>
        <a:lstStyle/>
        <a:p>
          <a:pPr algn="ctr"/>
          <a:r>
            <a:rPr lang="es-ES" sz="2800" b="1" dirty="0">
              <a:solidFill>
                <a:schemeClr val="accent4"/>
              </a:solidFill>
            </a:rPr>
            <a:t>221</a:t>
          </a:r>
        </a:p>
        <a:p>
          <a:pPr algn="ctr"/>
          <a:r>
            <a:rPr lang="es-ES" sz="2000" dirty="0">
              <a:solidFill>
                <a:schemeClr val="accent4"/>
              </a:solidFill>
            </a:rPr>
            <a:t>Unidades Sociales Ocupantes irregulares identificadas</a:t>
          </a:r>
        </a:p>
      </dgm:t>
    </dgm:pt>
    <dgm:pt modelId="{B44F0F99-002D-4296-BE65-2ACBD04AE18D}" type="parTrans" cxnId="{2E715CE1-6DA7-44E3-AEC8-DA75D7236BDC}">
      <dgm:prSet/>
      <dgm:spPr/>
      <dgm:t>
        <a:bodyPr/>
        <a:lstStyle/>
        <a:p>
          <a:endParaRPr lang="es-ES">
            <a:solidFill>
              <a:schemeClr val="accent4"/>
            </a:solidFill>
          </a:endParaRPr>
        </a:p>
      </dgm:t>
    </dgm:pt>
    <dgm:pt modelId="{AE7B48C8-9E53-4245-B9D6-F19A371AAACC}" type="sibTrans" cxnId="{2E715CE1-6DA7-44E3-AEC8-DA75D7236BDC}">
      <dgm:prSet/>
      <dgm:spPr/>
      <dgm:t>
        <a:bodyPr/>
        <a:lstStyle/>
        <a:p>
          <a:endParaRPr lang="es-ES">
            <a:solidFill>
              <a:schemeClr val="accent4"/>
            </a:solidFill>
          </a:endParaRPr>
        </a:p>
      </dgm:t>
    </dgm:pt>
    <dgm:pt modelId="{CD3A8618-8F1D-4706-AB32-7C656AA04D6A}">
      <dgm:prSet phldrT="[Texto]" custT="1"/>
      <dgm:spPr/>
      <dgm:t>
        <a:bodyPr/>
        <a:lstStyle/>
        <a:p>
          <a:pPr algn="ctr"/>
          <a:r>
            <a:rPr lang="es-ES" sz="2800" b="1" dirty="0">
              <a:solidFill>
                <a:schemeClr val="accent4"/>
              </a:solidFill>
            </a:rPr>
            <a:t>132</a:t>
          </a:r>
          <a:br>
            <a:rPr lang="es-ES" sz="2800" b="1" dirty="0">
              <a:solidFill>
                <a:schemeClr val="accent4"/>
              </a:solidFill>
            </a:rPr>
          </a:br>
          <a:r>
            <a:rPr lang="es-ES" sz="2000" dirty="0">
              <a:solidFill>
                <a:schemeClr val="accent4"/>
              </a:solidFill>
            </a:rPr>
            <a:t>Unidades sociales ocupantes irregulares reasentadas</a:t>
          </a:r>
          <a:endParaRPr lang="es-ES" sz="2000" b="1" dirty="0">
            <a:solidFill>
              <a:schemeClr val="accent4"/>
            </a:solidFill>
          </a:endParaRPr>
        </a:p>
      </dgm:t>
    </dgm:pt>
    <dgm:pt modelId="{82938FA1-3283-4417-AD32-5C3FCEB398B9}" type="parTrans" cxnId="{DD92E47C-9A2C-4C85-BDD7-2441E49D6D85}">
      <dgm:prSet/>
      <dgm:spPr/>
      <dgm:t>
        <a:bodyPr/>
        <a:lstStyle/>
        <a:p>
          <a:endParaRPr lang="es-ES">
            <a:solidFill>
              <a:schemeClr val="accent4"/>
            </a:solidFill>
          </a:endParaRPr>
        </a:p>
      </dgm:t>
    </dgm:pt>
    <dgm:pt modelId="{E4D29DE2-8D41-4137-A3AF-F60F732BA731}" type="sibTrans" cxnId="{DD92E47C-9A2C-4C85-BDD7-2441E49D6D85}">
      <dgm:prSet/>
      <dgm:spPr/>
      <dgm:t>
        <a:bodyPr/>
        <a:lstStyle/>
        <a:p>
          <a:endParaRPr lang="es-ES">
            <a:solidFill>
              <a:schemeClr val="accent4"/>
            </a:solidFill>
          </a:endParaRPr>
        </a:p>
      </dgm:t>
    </dgm:pt>
    <dgm:pt modelId="{BDF53F01-8511-49AD-AD30-167F45B0655D}">
      <dgm:prSet phldrT="[Texto]" custT="1"/>
      <dgm:spPr/>
      <dgm:t>
        <a:bodyPr/>
        <a:lstStyle/>
        <a:p>
          <a:pPr algn="ctr"/>
          <a:r>
            <a:rPr lang="es-ES" sz="2800" b="1" dirty="0">
              <a:solidFill>
                <a:schemeClr val="accent4"/>
              </a:solidFill>
            </a:rPr>
            <a:t>$8.899.431.825</a:t>
          </a:r>
        </a:p>
        <a:p>
          <a:pPr algn="ctr"/>
          <a:r>
            <a:rPr lang="es-ES" sz="2000" dirty="0">
              <a:solidFill>
                <a:schemeClr val="accent4"/>
              </a:solidFill>
            </a:rPr>
            <a:t>Cantidad de recursos estimado en los planes de reasentamiento</a:t>
          </a:r>
        </a:p>
      </dgm:t>
    </dgm:pt>
    <dgm:pt modelId="{569CDA7E-A0D1-42A6-8D6E-87CD81637449}" type="parTrans" cxnId="{78D0D480-21B6-4FC5-8918-2A39723AEFE1}">
      <dgm:prSet/>
      <dgm:spPr/>
      <dgm:t>
        <a:bodyPr/>
        <a:lstStyle/>
        <a:p>
          <a:endParaRPr lang="es-ES">
            <a:solidFill>
              <a:schemeClr val="accent4"/>
            </a:solidFill>
          </a:endParaRPr>
        </a:p>
      </dgm:t>
    </dgm:pt>
    <dgm:pt modelId="{603DD3FB-54AE-4188-AADE-060A2624DCD8}" type="sibTrans" cxnId="{78D0D480-21B6-4FC5-8918-2A39723AEFE1}">
      <dgm:prSet/>
      <dgm:spPr/>
      <dgm:t>
        <a:bodyPr/>
        <a:lstStyle/>
        <a:p>
          <a:endParaRPr lang="es-ES">
            <a:solidFill>
              <a:schemeClr val="accent4"/>
            </a:solidFill>
          </a:endParaRPr>
        </a:p>
      </dgm:t>
    </dgm:pt>
    <dgm:pt modelId="{37D3D029-98CF-469B-9515-0EEF9253EF2C}" type="pres">
      <dgm:prSet presAssocID="{E573CFAA-CD00-42BB-B391-B38D225FE03B}" presName="Name0" presStyleCnt="0">
        <dgm:presLayoutVars>
          <dgm:dir/>
          <dgm:resizeHandles val="exact"/>
        </dgm:presLayoutVars>
      </dgm:prSet>
      <dgm:spPr/>
    </dgm:pt>
    <dgm:pt modelId="{5B8E4701-C64E-4F18-A3CD-8346F2BEDAB0}" type="pres">
      <dgm:prSet presAssocID="{016C8797-9C36-4237-B69A-35A21283E52F}" presName="node" presStyleLbl="node1" presStyleIdx="0" presStyleCnt="3" custScaleX="120024">
        <dgm:presLayoutVars>
          <dgm:bulletEnabled val="1"/>
        </dgm:presLayoutVars>
      </dgm:prSet>
      <dgm:spPr/>
    </dgm:pt>
    <dgm:pt modelId="{0BE2D33F-E8EC-4907-9EE3-F2DA5A64A30C}" type="pres">
      <dgm:prSet presAssocID="{AE7B48C8-9E53-4245-B9D6-F19A371AAACC}" presName="sibTrans" presStyleCnt="0"/>
      <dgm:spPr/>
    </dgm:pt>
    <dgm:pt modelId="{FDE8CA41-E9C6-4B88-8208-DFD280561483}" type="pres">
      <dgm:prSet presAssocID="{CD3A8618-8F1D-4706-AB32-7C656AA04D6A}" presName="node" presStyleLbl="node1" presStyleIdx="1" presStyleCnt="3" custScaleX="119110">
        <dgm:presLayoutVars>
          <dgm:bulletEnabled val="1"/>
        </dgm:presLayoutVars>
      </dgm:prSet>
      <dgm:spPr/>
    </dgm:pt>
    <dgm:pt modelId="{17B90E73-9423-4344-9427-AC4A697BD86D}" type="pres">
      <dgm:prSet presAssocID="{E4D29DE2-8D41-4137-A3AF-F60F732BA731}" presName="sibTrans" presStyleCnt="0"/>
      <dgm:spPr/>
    </dgm:pt>
    <dgm:pt modelId="{3A97300C-5A1C-418C-A034-5A53D82DB1A4}" type="pres">
      <dgm:prSet presAssocID="{BDF53F01-8511-49AD-AD30-167F45B0655D}" presName="node" presStyleLbl="node1" presStyleIdx="2" presStyleCnt="3" custScaleX="154840" custLinFactNeighborX="9696" custLinFactNeighborY="7615">
        <dgm:presLayoutVars>
          <dgm:bulletEnabled val="1"/>
        </dgm:presLayoutVars>
      </dgm:prSet>
      <dgm:spPr/>
    </dgm:pt>
  </dgm:ptLst>
  <dgm:cxnLst>
    <dgm:cxn modelId="{5AEB3602-0DC4-4A58-BB03-147CE326FD47}" type="presOf" srcId="{BDF53F01-8511-49AD-AD30-167F45B0655D}" destId="{3A97300C-5A1C-418C-A034-5A53D82DB1A4}" srcOrd="0" destOrd="0" presId="urn:microsoft.com/office/officeart/2005/8/layout/hList6"/>
    <dgm:cxn modelId="{989EC736-25A6-49D5-A328-357A43917B2B}" type="presOf" srcId="{016C8797-9C36-4237-B69A-35A21283E52F}" destId="{5B8E4701-C64E-4F18-A3CD-8346F2BEDAB0}" srcOrd="0" destOrd="0" presId="urn:microsoft.com/office/officeart/2005/8/layout/hList6"/>
    <dgm:cxn modelId="{DD92E47C-9A2C-4C85-BDD7-2441E49D6D85}" srcId="{E573CFAA-CD00-42BB-B391-B38D225FE03B}" destId="{CD3A8618-8F1D-4706-AB32-7C656AA04D6A}" srcOrd="1" destOrd="0" parTransId="{82938FA1-3283-4417-AD32-5C3FCEB398B9}" sibTransId="{E4D29DE2-8D41-4137-A3AF-F60F732BA731}"/>
    <dgm:cxn modelId="{78D0D480-21B6-4FC5-8918-2A39723AEFE1}" srcId="{E573CFAA-CD00-42BB-B391-B38D225FE03B}" destId="{BDF53F01-8511-49AD-AD30-167F45B0655D}" srcOrd="2" destOrd="0" parTransId="{569CDA7E-A0D1-42A6-8D6E-87CD81637449}" sibTransId="{603DD3FB-54AE-4188-AADE-060A2624DCD8}"/>
    <dgm:cxn modelId="{86D90083-9B0A-417D-B04C-3E9811F16D0D}" type="presOf" srcId="{CD3A8618-8F1D-4706-AB32-7C656AA04D6A}" destId="{FDE8CA41-E9C6-4B88-8208-DFD280561483}" srcOrd="0" destOrd="0" presId="urn:microsoft.com/office/officeart/2005/8/layout/hList6"/>
    <dgm:cxn modelId="{7ECE28BA-F00C-4E53-ACC8-4CF076EED851}" type="presOf" srcId="{E573CFAA-CD00-42BB-B391-B38D225FE03B}" destId="{37D3D029-98CF-469B-9515-0EEF9253EF2C}" srcOrd="0" destOrd="0" presId="urn:microsoft.com/office/officeart/2005/8/layout/hList6"/>
    <dgm:cxn modelId="{2E715CE1-6DA7-44E3-AEC8-DA75D7236BDC}" srcId="{E573CFAA-CD00-42BB-B391-B38D225FE03B}" destId="{016C8797-9C36-4237-B69A-35A21283E52F}" srcOrd="0" destOrd="0" parTransId="{B44F0F99-002D-4296-BE65-2ACBD04AE18D}" sibTransId="{AE7B48C8-9E53-4245-B9D6-F19A371AAACC}"/>
    <dgm:cxn modelId="{BB341D2F-44C7-43B3-88F5-3BA54BF2ED59}" type="presParOf" srcId="{37D3D029-98CF-469B-9515-0EEF9253EF2C}" destId="{5B8E4701-C64E-4F18-A3CD-8346F2BEDAB0}" srcOrd="0" destOrd="0" presId="urn:microsoft.com/office/officeart/2005/8/layout/hList6"/>
    <dgm:cxn modelId="{625CA85A-D0AE-40B7-803B-11DF03C09FA7}" type="presParOf" srcId="{37D3D029-98CF-469B-9515-0EEF9253EF2C}" destId="{0BE2D33F-E8EC-4907-9EE3-F2DA5A64A30C}" srcOrd="1" destOrd="0" presId="urn:microsoft.com/office/officeart/2005/8/layout/hList6"/>
    <dgm:cxn modelId="{01D2E558-878E-455E-AAD6-D10F1BD6913B}" type="presParOf" srcId="{37D3D029-98CF-469B-9515-0EEF9253EF2C}" destId="{FDE8CA41-E9C6-4B88-8208-DFD280561483}" srcOrd="2" destOrd="0" presId="urn:microsoft.com/office/officeart/2005/8/layout/hList6"/>
    <dgm:cxn modelId="{AB9BFDA0-6481-4D8D-A7C8-FD5226CBDE7D}" type="presParOf" srcId="{37D3D029-98CF-469B-9515-0EEF9253EF2C}" destId="{17B90E73-9423-4344-9427-AC4A697BD86D}" srcOrd="3" destOrd="0" presId="urn:microsoft.com/office/officeart/2005/8/layout/hList6"/>
    <dgm:cxn modelId="{8EF62458-867C-4D36-96B9-82508A6B3167}" type="presParOf" srcId="{37D3D029-98CF-469B-9515-0EEF9253EF2C}" destId="{3A97300C-5A1C-418C-A034-5A53D82DB1A4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EB8C17-4D68-4CB2-85BB-F9C1CC95C407}">
      <dsp:nvSpPr>
        <dsp:cNvPr id="0" name=""/>
        <dsp:cNvSpPr/>
      </dsp:nvSpPr>
      <dsp:spPr>
        <a:xfrm>
          <a:off x="1929" y="80169"/>
          <a:ext cx="2350259" cy="940103"/>
        </a:xfrm>
        <a:prstGeom prst="chevron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2672" rIns="42672" bIns="42672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3200" b="1" kern="1200" dirty="0">
              <a:effectLst/>
              <a:latin typeface="+mj-lt"/>
            </a:rPr>
            <a:t>31.336</a:t>
          </a:r>
        </a:p>
      </dsp:txBody>
      <dsp:txXfrm>
        <a:off x="471981" y="80169"/>
        <a:ext cx="1410156" cy="940103"/>
      </dsp:txXfrm>
    </dsp:sp>
    <dsp:sp modelId="{A0A0F9EC-02EE-4769-8C86-14156B172568}">
      <dsp:nvSpPr>
        <dsp:cNvPr id="0" name=""/>
        <dsp:cNvSpPr/>
      </dsp:nvSpPr>
      <dsp:spPr>
        <a:xfrm>
          <a:off x="2062848" y="74199"/>
          <a:ext cx="2350259" cy="940103"/>
        </a:xfrm>
        <a:prstGeom prst="chevron">
          <a:avLst/>
        </a:prstGeom>
        <a:solidFill>
          <a:schemeClr val="accent5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018" tIns="46673" rIns="46673" bIns="46673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35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490</a:t>
          </a:r>
        </a:p>
      </dsp:txBody>
      <dsp:txXfrm>
        <a:off x="2532900" y="74199"/>
        <a:ext cx="1410156" cy="940103"/>
      </dsp:txXfrm>
    </dsp:sp>
    <dsp:sp modelId="{412E1E2E-A28D-4EF8-A2B2-544B6CBC1464}">
      <dsp:nvSpPr>
        <dsp:cNvPr id="0" name=""/>
        <dsp:cNvSpPr/>
      </dsp:nvSpPr>
      <dsp:spPr>
        <a:xfrm>
          <a:off x="4232396" y="66914"/>
          <a:ext cx="2350259" cy="940103"/>
        </a:xfrm>
        <a:prstGeom prst="chevron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2672" rIns="42672" bIns="42672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32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31.146</a:t>
          </a:r>
        </a:p>
      </dsp:txBody>
      <dsp:txXfrm>
        <a:off x="4702448" y="66914"/>
        <a:ext cx="1410156" cy="9401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EB8C17-4D68-4CB2-85BB-F9C1CC95C407}">
      <dsp:nvSpPr>
        <dsp:cNvPr id="0" name=""/>
        <dsp:cNvSpPr/>
      </dsp:nvSpPr>
      <dsp:spPr>
        <a:xfrm>
          <a:off x="5787" y="0"/>
          <a:ext cx="3459479" cy="1100443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2672" rIns="42672" bIns="42672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3200" b="1" kern="1200" dirty="0">
              <a:effectLst/>
              <a:latin typeface="+mj-lt"/>
            </a:rPr>
            <a:t>1.370</a:t>
          </a:r>
          <a:br>
            <a:rPr lang="es-ES" sz="3200" b="1" kern="1200" dirty="0">
              <a:effectLst/>
              <a:latin typeface="+mj-lt"/>
            </a:rPr>
          </a:br>
          <a:r>
            <a:rPr lang="es-ES" sz="1800" b="1" kern="1200" dirty="0">
              <a:effectLst/>
              <a:latin typeface="+mj-lt"/>
            </a:rPr>
            <a:t>Proyectos Productivos en formulación</a:t>
          </a:r>
        </a:p>
      </dsp:txBody>
      <dsp:txXfrm>
        <a:off x="556009" y="0"/>
        <a:ext cx="2359036" cy="1100443"/>
      </dsp:txXfrm>
    </dsp:sp>
    <dsp:sp modelId="{A0A0F9EC-02EE-4769-8C86-14156B172568}">
      <dsp:nvSpPr>
        <dsp:cNvPr id="0" name=""/>
        <dsp:cNvSpPr/>
      </dsp:nvSpPr>
      <dsp:spPr>
        <a:xfrm>
          <a:off x="3039370" y="0"/>
          <a:ext cx="3459479" cy="1100443"/>
        </a:xfrm>
        <a:prstGeom prst="chevron">
          <a:avLst/>
        </a:prstGeom>
        <a:solidFill>
          <a:schemeClr val="accent6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018" tIns="46673" rIns="46673" bIns="46673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35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22 </a:t>
          </a:r>
          <a:br>
            <a:rPr lang="es-ES" sz="35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</a:br>
          <a:r>
            <a:rPr lang="es-ES" sz="1800" b="1" kern="1200" dirty="0">
              <a:effectLst/>
              <a:latin typeface="+mj-lt"/>
            </a:rPr>
            <a:t>Proyectos Productivos en ejecución</a:t>
          </a:r>
          <a:endParaRPr lang="es-ES" sz="35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+mj-lt"/>
          </a:endParaRPr>
        </a:p>
      </dsp:txBody>
      <dsp:txXfrm>
        <a:off x="3589592" y="0"/>
        <a:ext cx="2359036" cy="110044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EB8C17-4D68-4CB2-85BB-F9C1CC95C407}">
      <dsp:nvSpPr>
        <dsp:cNvPr id="0" name=""/>
        <dsp:cNvSpPr/>
      </dsp:nvSpPr>
      <dsp:spPr>
        <a:xfrm>
          <a:off x="5787" y="0"/>
          <a:ext cx="3459479" cy="1100443"/>
        </a:xfrm>
        <a:prstGeom prst="chevron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42672" rIns="42672" bIns="42672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3200" b="1" kern="1200" dirty="0">
              <a:effectLst/>
              <a:latin typeface="+mj-lt"/>
            </a:rPr>
            <a:t>6.384</a:t>
          </a:r>
        </a:p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b="1" kern="1200" dirty="0">
              <a:effectLst/>
              <a:latin typeface="+mj-lt"/>
            </a:rPr>
            <a:t>Personas beneficiadas</a:t>
          </a:r>
        </a:p>
      </dsp:txBody>
      <dsp:txXfrm>
        <a:off x="556009" y="0"/>
        <a:ext cx="2359036" cy="1100443"/>
      </dsp:txXfrm>
    </dsp:sp>
    <dsp:sp modelId="{A0A0F9EC-02EE-4769-8C86-14156B172568}">
      <dsp:nvSpPr>
        <dsp:cNvPr id="0" name=""/>
        <dsp:cNvSpPr/>
      </dsp:nvSpPr>
      <dsp:spPr>
        <a:xfrm>
          <a:off x="3039370" y="0"/>
          <a:ext cx="3459479" cy="1100443"/>
        </a:xfrm>
        <a:prstGeom prst="chevron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018" tIns="46673" rIns="46673" bIns="46673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35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1.193</a:t>
          </a:r>
        </a:p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8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Familias beneficiadas</a:t>
          </a:r>
        </a:p>
      </dsp:txBody>
      <dsp:txXfrm>
        <a:off x="3589592" y="0"/>
        <a:ext cx="2359036" cy="110044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65DDD9-AD62-4249-994F-4821C3E01440}">
      <dsp:nvSpPr>
        <dsp:cNvPr id="0" name=""/>
        <dsp:cNvSpPr/>
      </dsp:nvSpPr>
      <dsp:spPr>
        <a:xfrm rot="5400000">
          <a:off x="2902271" y="374494"/>
          <a:ext cx="2992620" cy="2596772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lumMod val="60000"/>
            <a:lumOff val="40000"/>
          </a:schemeClr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4000" b="1" kern="1200" dirty="0">
              <a:solidFill>
                <a:schemeClr val="accent4">
                  <a:lumMod val="50000"/>
                </a:schemeClr>
              </a:solidFill>
              <a:latin typeface="+mj-lt"/>
            </a:rPr>
            <a:t>18.870</a:t>
          </a:r>
        </a:p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b="1" kern="1200" dirty="0">
              <a:solidFill>
                <a:schemeClr val="accent4">
                  <a:lumMod val="50000"/>
                </a:schemeClr>
              </a:solidFill>
              <a:latin typeface="+mj-lt"/>
            </a:rPr>
            <a:t>PERSONAS CAPACITADAS</a:t>
          </a:r>
        </a:p>
      </dsp:txBody>
      <dsp:txXfrm rot="-5400000">
        <a:off x="3504366" y="642353"/>
        <a:ext cx="1788430" cy="2061054"/>
      </dsp:txXfrm>
    </dsp:sp>
    <dsp:sp modelId="{F70FD559-85AC-41A5-9DEC-E8E448238724}">
      <dsp:nvSpPr>
        <dsp:cNvPr id="0" name=""/>
        <dsp:cNvSpPr/>
      </dsp:nvSpPr>
      <dsp:spPr>
        <a:xfrm>
          <a:off x="4862589" y="1138569"/>
          <a:ext cx="2183095" cy="11737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C57C54-EBE1-4755-8341-2F17A39122D7}">
      <dsp:nvSpPr>
        <dsp:cNvPr id="0" name=""/>
        <dsp:cNvSpPr/>
      </dsp:nvSpPr>
      <dsp:spPr>
        <a:xfrm rot="5400000">
          <a:off x="158847" y="396884"/>
          <a:ext cx="2935167" cy="2521124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lumMod val="40000"/>
            <a:lumOff val="60000"/>
          </a:schemeClr>
        </a:solidFill>
        <a:ln w="25400" cap="flat" cmpd="sng" algn="ctr">
          <a:solidFill>
            <a:schemeClr val="tx1"/>
          </a:solidFill>
          <a:prstDash val="solid"/>
        </a:ln>
        <a:effectLst/>
        <a:scene3d>
          <a:camera prst="obliqueTopRigh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4000" b="1" kern="1200" dirty="0">
              <a:solidFill>
                <a:schemeClr val="accent4">
                  <a:lumMod val="50000"/>
                </a:schemeClr>
              </a:solidFill>
              <a:latin typeface="+mj-lt"/>
            </a:rPr>
            <a:t>2.959</a:t>
          </a:r>
        </a:p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b="1" kern="1200" dirty="0">
              <a:solidFill>
                <a:schemeClr val="accent4">
                  <a:lumMod val="50000"/>
                </a:schemeClr>
              </a:solidFill>
              <a:latin typeface="+mj-lt"/>
            </a:rPr>
            <a:t>CAPACITACIONES EJECUTADAS POR SENA Y OTROS</a:t>
          </a:r>
        </a:p>
      </dsp:txBody>
      <dsp:txXfrm rot="-5400000">
        <a:off x="756419" y="644554"/>
        <a:ext cx="1740022" cy="202578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65DDD9-AD62-4249-994F-4821C3E01440}">
      <dsp:nvSpPr>
        <dsp:cNvPr id="0" name=""/>
        <dsp:cNvSpPr/>
      </dsp:nvSpPr>
      <dsp:spPr>
        <a:xfrm rot="5400000">
          <a:off x="2902271" y="374494"/>
          <a:ext cx="2992620" cy="2596772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lumMod val="40000"/>
            <a:lumOff val="60000"/>
          </a:schemeClr>
        </a:solidFill>
        <a:ln w="25400" cap="flat" cmpd="sng" algn="ctr">
          <a:solidFill>
            <a:schemeClr val="accent6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4000" b="1" kern="1200" dirty="0">
              <a:solidFill>
                <a:schemeClr val="accent4">
                  <a:lumMod val="50000"/>
                </a:schemeClr>
              </a:solidFill>
              <a:latin typeface="+mj-lt"/>
            </a:rPr>
            <a:t>551</a:t>
          </a:r>
        </a:p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600" b="1" kern="1200" dirty="0">
              <a:solidFill>
                <a:schemeClr val="accent4">
                  <a:lumMod val="50000"/>
                </a:schemeClr>
              </a:solidFill>
              <a:latin typeface="+mj-lt"/>
            </a:rPr>
            <a:t>CAPACITACIONES PERSONAL DE OBRA</a:t>
          </a:r>
        </a:p>
      </dsp:txBody>
      <dsp:txXfrm rot="-5400000">
        <a:off x="3504366" y="642353"/>
        <a:ext cx="1788430" cy="2061054"/>
      </dsp:txXfrm>
    </dsp:sp>
    <dsp:sp modelId="{F70FD559-85AC-41A5-9DEC-E8E448238724}">
      <dsp:nvSpPr>
        <dsp:cNvPr id="0" name=""/>
        <dsp:cNvSpPr/>
      </dsp:nvSpPr>
      <dsp:spPr>
        <a:xfrm>
          <a:off x="4862589" y="1138569"/>
          <a:ext cx="2183095" cy="11737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C57C54-EBE1-4755-8341-2F17A39122D7}">
      <dsp:nvSpPr>
        <dsp:cNvPr id="0" name=""/>
        <dsp:cNvSpPr/>
      </dsp:nvSpPr>
      <dsp:spPr>
        <a:xfrm rot="5400000">
          <a:off x="158847" y="396884"/>
          <a:ext cx="2935167" cy="2521124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lumMod val="60000"/>
            <a:lumOff val="40000"/>
          </a:schemeClr>
        </a:solidFill>
        <a:ln w="25400" cap="flat" cmpd="sng" algn="ctr">
          <a:solidFill>
            <a:schemeClr val="accent5"/>
          </a:solidFill>
          <a:prstDash val="solid"/>
        </a:ln>
        <a:effectLst/>
        <a:scene3d>
          <a:camera prst="obliqueTopRight"/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4000" b="1" kern="1200" dirty="0">
              <a:solidFill>
                <a:schemeClr val="accent4">
                  <a:lumMod val="50000"/>
                </a:schemeClr>
              </a:solidFill>
              <a:latin typeface="+mj-lt"/>
            </a:rPr>
            <a:t>8.020</a:t>
          </a:r>
        </a:p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900" b="1" kern="1200" dirty="0">
              <a:solidFill>
                <a:schemeClr val="accent4">
                  <a:lumMod val="50000"/>
                </a:schemeClr>
              </a:solidFill>
              <a:latin typeface="+mj-lt"/>
            </a:rPr>
            <a:t>MONUMENTOS PROTEGIDOS</a:t>
          </a:r>
        </a:p>
      </dsp:txBody>
      <dsp:txXfrm rot="-5400000">
        <a:off x="756419" y="644554"/>
        <a:ext cx="1740022" cy="202578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4367AD-579B-448D-A5F0-DAB18EC5D94B}">
      <dsp:nvSpPr>
        <dsp:cNvPr id="0" name=""/>
        <dsp:cNvSpPr/>
      </dsp:nvSpPr>
      <dsp:spPr>
        <a:xfrm>
          <a:off x="3788" y="1770733"/>
          <a:ext cx="3312794" cy="1663579"/>
        </a:xfrm>
        <a:prstGeom prst="homePlate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85344" rIns="42672" bIns="8534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3200" b="1" kern="1200" dirty="0">
              <a:solidFill>
                <a:schemeClr val="accent4"/>
              </a:solidFill>
            </a:rPr>
            <a:t>751</a:t>
          </a:r>
          <a:br>
            <a:rPr lang="es-ES" sz="3200" b="1" kern="1200" dirty="0">
              <a:solidFill>
                <a:schemeClr val="accent4"/>
              </a:solidFill>
            </a:rPr>
          </a:br>
          <a:r>
            <a:rPr lang="es-ES" sz="2000" kern="1200" dirty="0">
              <a:solidFill>
                <a:schemeClr val="accent4"/>
              </a:solidFill>
            </a:rPr>
            <a:t>Campañas trimestrales </a:t>
          </a:r>
        </a:p>
      </dsp:txBody>
      <dsp:txXfrm>
        <a:off x="3788" y="1770733"/>
        <a:ext cx="2896899" cy="1663579"/>
      </dsp:txXfrm>
    </dsp:sp>
    <dsp:sp modelId="{D89104A6-D2F3-4CF7-8D3F-BECC8DBB3D0D}">
      <dsp:nvSpPr>
        <dsp:cNvPr id="0" name=""/>
        <dsp:cNvSpPr/>
      </dsp:nvSpPr>
      <dsp:spPr>
        <a:xfrm>
          <a:off x="2654024" y="1756250"/>
          <a:ext cx="3312794" cy="1692546"/>
        </a:xfrm>
        <a:prstGeom prst="chevron">
          <a:avLst/>
        </a:prstGeom>
        <a:solidFill>
          <a:schemeClr val="accent5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85344" rIns="42672" bIns="8534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3200" b="1" kern="1200" dirty="0">
              <a:solidFill>
                <a:schemeClr val="accent4"/>
              </a:solidFill>
            </a:rPr>
            <a:t>3.130</a:t>
          </a:r>
          <a:br>
            <a:rPr lang="es-ES" sz="3200" b="1" kern="1200" dirty="0">
              <a:solidFill>
                <a:schemeClr val="accent4"/>
              </a:solidFill>
            </a:rPr>
          </a:br>
          <a:r>
            <a:rPr lang="es-ES" sz="2000" kern="1200" dirty="0">
              <a:solidFill>
                <a:schemeClr val="accent4"/>
              </a:solidFill>
            </a:rPr>
            <a:t>Actividades pedagógicas de formación</a:t>
          </a:r>
        </a:p>
      </dsp:txBody>
      <dsp:txXfrm>
        <a:off x="3500297" y="1756250"/>
        <a:ext cx="1620248" cy="1692546"/>
      </dsp:txXfrm>
    </dsp:sp>
    <dsp:sp modelId="{49EC23A5-DB31-47FD-A971-87EEAFDA1273}">
      <dsp:nvSpPr>
        <dsp:cNvPr id="0" name=""/>
        <dsp:cNvSpPr/>
      </dsp:nvSpPr>
      <dsp:spPr>
        <a:xfrm>
          <a:off x="5304259" y="1756250"/>
          <a:ext cx="3312794" cy="1692546"/>
        </a:xfrm>
        <a:prstGeom prst="chevron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85344" rIns="42672" bIns="8534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3200" b="1" kern="1200" dirty="0">
              <a:solidFill>
                <a:schemeClr val="accent4"/>
              </a:solidFill>
            </a:rPr>
            <a:t>145.890</a:t>
          </a:r>
          <a:br>
            <a:rPr lang="es-ES" sz="3200" b="1" kern="1200" dirty="0">
              <a:solidFill>
                <a:schemeClr val="accent4"/>
              </a:solidFill>
            </a:rPr>
          </a:br>
          <a:r>
            <a:rPr lang="es-ES" sz="2000" kern="1200" dirty="0">
              <a:solidFill>
                <a:schemeClr val="accent4"/>
              </a:solidFill>
            </a:rPr>
            <a:t>Personas Capacitadas</a:t>
          </a:r>
        </a:p>
      </dsp:txBody>
      <dsp:txXfrm>
        <a:off x="6150532" y="1756250"/>
        <a:ext cx="1620248" cy="169254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8E4701-C64E-4F18-A3CD-8346F2BEDAB0}">
      <dsp:nvSpPr>
        <dsp:cNvPr id="0" name=""/>
        <dsp:cNvSpPr/>
      </dsp:nvSpPr>
      <dsp:spPr>
        <a:xfrm rot="16200000">
          <a:off x="-1006792" y="1008641"/>
          <a:ext cx="4064000" cy="2046717"/>
        </a:xfrm>
        <a:prstGeom prst="flowChartManualOperation">
          <a:avLst/>
        </a:prstGeom>
        <a:solidFill>
          <a:schemeClr val="accent5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0" rIns="17780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b="1" kern="1200" dirty="0">
              <a:solidFill>
                <a:schemeClr val="accent4"/>
              </a:solidFill>
            </a:rPr>
            <a:t>221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 dirty="0">
              <a:solidFill>
                <a:schemeClr val="accent4"/>
              </a:solidFill>
            </a:rPr>
            <a:t>Unidades Sociales Ocupantes irregulares identificadas</a:t>
          </a:r>
        </a:p>
      </dsp:txBody>
      <dsp:txXfrm rot="5400000">
        <a:off x="1849" y="812800"/>
        <a:ext cx="2046717" cy="2438400"/>
      </dsp:txXfrm>
    </dsp:sp>
    <dsp:sp modelId="{FDE8CA41-E9C6-4B88-8208-DFD280561483}">
      <dsp:nvSpPr>
        <dsp:cNvPr id="0" name=""/>
        <dsp:cNvSpPr/>
      </dsp:nvSpPr>
      <dsp:spPr>
        <a:xfrm rot="16200000">
          <a:off x="1160025" y="1016434"/>
          <a:ext cx="4064000" cy="2031131"/>
        </a:xfrm>
        <a:prstGeom prst="flowChartManualOperation">
          <a:avLst/>
        </a:prstGeom>
        <a:solidFill>
          <a:schemeClr val="accent5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0" rIns="17780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b="1" kern="1200" dirty="0">
              <a:solidFill>
                <a:schemeClr val="accent4"/>
              </a:solidFill>
            </a:rPr>
            <a:t>132</a:t>
          </a:r>
          <a:br>
            <a:rPr lang="es-ES" sz="2800" b="1" kern="1200" dirty="0">
              <a:solidFill>
                <a:schemeClr val="accent4"/>
              </a:solidFill>
            </a:rPr>
          </a:br>
          <a:r>
            <a:rPr lang="es-ES" sz="2000" kern="1200" dirty="0">
              <a:solidFill>
                <a:schemeClr val="accent4"/>
              </a:solidFill>
            </a:rPr>
            <a:t>Unidades sociales ocupantes irregulares reasentadas</a:t>
          </a:r>
          <a:endParaRPr lang="es-ES" sz="2000" b="1" kern="1200" dirty="0">
            <a:solidFill>
              <a:schemeClr val="accent4"/>
            </a:solidFill>
          </a:endParaRPr>
        </a:p>
      </dsp:txBody>
      <dsp:txXfrm rot="5400000">
        <a:off x="2176459" y="812800"/>
        <a:ext cx="2031131" cy="2438400"/>
      </dsp:txXfrm>
    </dsp:sp>
    <dsp:sp modelId="{3A97300C-5A1C-418C-A034-5A53D82DB1A4}">
      <dsp:nvSpPr>
        <dsp:cNvPr id="0" name=""/>
        <dsp:cNvSpPr/>
      </dsp:nvSpPr>
      <dsp:spPr>
        <a:xfrm rot="16200000">
          <a:off x="3625543" y="711790"/>
          <a:ext cx="4064000" cy="2640419"/>
        </a:xfrm>
        <a:prstGeom prst="flowChartManualOperation">
          <a:avLst/>
        </a:prstGeom>
        <a:solidFill>
          <a:schemeClr val="accent5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0" tIns="0" rIns="17780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800" b="1" kern="1200" dirty="0">
              <a:solidFill>
                <a:schemeClr val="accent4"/>
              </a:solidFill>
            </a:rPr>
            <a:t>$8.899.431.825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2000" kern="1200" dirty="0">
              <a:solidFill>
                <a:schemeClr val="accent4"/>
              </a:solidFill>
            </a:rPr>
            <a:t>Cantidad de recursos estimado en los planes de reasentamiento</a:t>
          </a:r>
        </a:p>
      </dsp:txBody>
      <dsp:txXfrm rot="5400000">
        <a:off x="4337334" y="812799"/>
        <a:ext cx="2640419" cy="24384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5947" y="0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8/2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2813" y="744538"/>
            <a:ext cx="496411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8974" y="4716661"/>
            <a:ext cx="5431790" cy="446841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5947" y="9431599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4.png"/><Relationship Id="rId2" Type="http://schemas.openxmlformats.org/officeDocument/2006/relationships/tags" Target="../tags/tag10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2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image" Target="../media/image2.jpe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8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143900" y="6356351"/>
            <a:ext cx="5429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53528" y="982470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913243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0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318788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181853" y="6198201"/>
            <a:ext cx="684423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738" y="6305273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7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419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266D7-45E6-444C-ACEE-BC344B8952A8}" type="datetimeFigureOut">
              <a:rPr lang="es-419" smtClean="0"/>
              <a:t>28/8/2017</a:t>
            </a:fld>
            <a:endParaRPr lang="es-419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B1FC1-F037-408E-9442-7E4F7866E456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4843641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0B28C6-6689-4175-9FAB-8165CB545B3E}" type="datetimeFigureOut">
              <a:rPr lang="es-CO" smtClean="0"/>
              <a:t>28/08/2017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E945A-A38E-4B7F-9801-CE45D60305B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184294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image" Target="../media/image3.png"/><Relationship Id="rId10" Type="http://schemas.openxmlformats.org/officeDocument/2006/relationships/theme" Target="../theme/theme1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2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 rotWithShape="1">
          <a:blip r:embed="rId2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6877050" y="6288821"/>
            <a:ext cx="618324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3324" y="6363329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8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9"/>
            </p:custDataLst>
          </p:nvPr>
        </p:nvSpPr>
        <p:spPr>
          <a:xfrm rot="10800000" flipH="1" flipV="1">
            <a:off x="-1" y="6724298"/>
            <a:ext cx="6717507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5" r:id="rId8"/>
    <p:sldLayoutId id="2147483676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.xml"/><Relationship Id="rId7" Type="http://schemas.openxmlformats.org/officeDocument/2006/relationships/oleObject" Target="../embeddings/oleObject9.bin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7.jpe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027583" y="2194065"/>
            <a:ext cx="7116417" cy="891241"/>
          </a:xfrm>
        </p:spPr>
        <p:txBody>
          <a:bodyPr/>
          <a:lstStyle/>
          <a:p>
            <a:pPr algn="ctr"/>
            <a:r>
              <a:rPr lang="es-ES" sz="66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es-ES" sz="5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GROS </a:t>
            </a:r>
            <a:r>
              <a:rPr lang="es-ES" sz="66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es-ES" sz="5000" dirty="0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IALES</a:t>
            </a:r>
            <a:endParaRPr lang="en-US" sz="5000" dirty="0">
              <a:solidFill>
                <a:schemeClr val="tx2"/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027583" y="3085306"/>
            <a:ext cx="7023652" cy="347008"/>
          </a:xfrm>
        </p:spPr>
        <p:txBody>
          <a:bodyPr/>
          <a:lstStyle/>
          <a:p>
            <a:pPr algn="ctr"/>
            <a:r>
              <a:rPr lang="es-ES" sz="2000" b="1" dirty="0"/>
              <a:t>Gerencia Social - VPRE</a:t>
            </a:r>
            <a:endParaRPr lang="en-US" sz="2000" b="1" dirty="0"/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>
          <a:xfrm>
            <a:off x="2313084" y="4248150"/>
            <a:ext cx="3219450" cy="361950"/>
          </a:xfrm>
        </p:spPr>
        <p:txBody>
          <a:bodyPr/>
          <a:lstStyle/>
          <a:p>
            <a:r>
              <a:rPr lang="es-ES" sz="1800" b="1" dirty="0">
                <a:solidFill>
                  <a:schemeClr val="tx2"/>
                </a:solidFill>
              </a:rPr>
              <a:t>Agosto de 2017</a:t>
            </a:r>
            <a:endParaRPr lang="en-US" sz="1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CACFDE98-1F4B-4C3F-9ADB-89415B0D6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B1FC1-F037-408E-9442-7E4F7866E456}" type="slidenum">
              <a:rPr lang="es-419" smtClean="0"/>
              <a:t>10</a:t>
            </a:fld>
            <a:endParaRPr lang="es-419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D26ECA1-36F3-4208-8180-A8AE2333EB2E}"/>
              </a:ext>
            </a:extLst>
          </p:cNvPr>
          <p:cNvSpPr txBox="1">
            <a:spLocks/>
          </p:cNvSpPr>
          <p:nvPr/>
        </p:nvSpPr>
        <p:spPr bwMode="auto">
          <a:xfrm>
            <a:off x="-141475" y="272455"/>
            <a:ext cx="9285475" cy="71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ULTURA </a:t>
            </a:r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V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AL</a:t>
            </a:r>
          </a:p>
        </p:txBody>
      </p:sp>
      <p:graphicFrame>
        <p:nvGraphicFramePr>
          <p:cNvPr id="8" name="Diagrama 7">
            <a:extLst>
              <a:ext uri="{FF2B5EF4-FFF2-40B4-BE49-F238E27FC236}">
                <a16:creationId xmlns:a16="http://schemas.microsoft.com/office/drawing/2014/main" id="{85C767C7-361A-4EBE-A64C-3CD0976012F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2652304"/>
              </p:ext>
            </p:extLst>
          </p:nvPr>
        </p:nvGraphicFramePr>
        <p:xfrm>
          <a:off x="269556" y="801858"/>
          <a:ext cx="8620843" cy="52050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F9E23ABB-26F1-425D-8F2F-835E889B8A98}"/>
              </a:ext>
            </a:extLst>
          </p:cNvPr>
          <p:cNvSpPr txBox="1"/>
          <p:nvPr/>
        </p:nvSpPr>
        <p:spPr>
          <a:xfrm>
            <a:off x="185532" y="6337266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</p:spTree>
    <p:extLst>
      <p:ext uri="{BB962C8B-B14F-4D97-AF65-F5344CB8AC3E}">
        <p14:creationId xmlns:p14="http://schemas.microsoft.com/office/powerpoint/2010/main" val="29835821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37BDC7A3-36F3-41B5-8C6B-8050ED958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B1FC1-F037-408E-9442-7E4F7866E456}" type="slidenum">
              <a:rPr lang="es-419" smtClean="0"/>
              <a:t>11</a:t>
            </a:fld>
            <a:endParaRPr lang="es-419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0E37D73-AB83-4CFD-854B-E9870D73CAFA}"/>
              </a:ext>
            </a:extLst>
          </p:cNvPr>
          <p:cNvSpPr txBox="1">
            <a:spLocks/>
          </p:cNvSpPr>
          <p:nvPr/>
        </p:nvSpPr>
        <p:spPr bwMode="auto">
          <a:xfrm>
            <a:off x="768855" y="129928"/>
            <a:ext cx="7765366" cy="822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MPAÑAMIENTO A LA 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G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STIÓN 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OCIOPREDIAL</a:t>
            </a: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54C49499-958C-41BA-BDDE-8BD4843845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333549"/>
              </p:ext>
            </p:extLst>
          </p:nvPr>
        </p:nvGraphicFramePr>
        <p:xfrm>
          <a:off x="1369256" y="2561127"/>
          <a:ext cx="6096000" cy="138840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3058151645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589313241"/>
                    </a:ext>
                  </a:extLst>
                </a:gridCol>
              </a:tblGrid>
              <a:tr h="1388404">
                <a:tc>
                  <a:txBody>
                    <a:bodyPr/>
                    <a:lstStyle/>
                    <a:p>
                      <a:pPr algn="ctr"/>
                      <a:r>
                        <a:rPr lang="es-CO" sz="2800" dirty="0">
                          <a:solidFill>
                            <a:sysClr val="windowText" lastClr="000000"/>
                          </a:solidFill>
                        </a:rPr>
                        <a:t>3.401</a:t>
                      </a:r>
                    </a:p>
                    <a:p>
                      <a:pPr algn="ctr"/>
                      <a:r>
                        <a:rPr lang="es-CO" sz="1800" b="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Unidades sociales intervenidas en los proyectos</a:t>
                      </a:r>
                      <a:endParaRPr lang="es-CO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28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$4.453.943.440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 </a:t>
                      </a:r>
                      <a:r>
                        <a:rPr lang="es-CO" sz="1800" b="0" u="none" strike="noStrike" dirty="0">
                          <a:solidFill>
                            <a:sysClr val="windowText" lastClr="000000"/>
                          </a:solidFill>
                          <a:effectLst/>
                        </a:rPr>
                        <a:t>Total compensaciones sociales reconocidas</a:t>
                      </a:r>
                      <a:endParaRPr lang="es-CO" sz="1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8149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91326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37BDC7A3-36F3-41B5-8C6B-8050ED958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B1FC1-F037-408E-9442-7E4F7866E456}" type="slidenum">
              <a:rPr lang="es-419" smtClean="0"/>
              <a:t>12</a:t>
            </a:fld>
            <a:endParaRPr lang="es-419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0E37D73-AB83-4CFD-854B-E9870D73CAFA}"/>
              </a:ext>
            </a:extLst>
          </p:cNvPr>
          <p:cNvSpPr txBox="1">
            <a:spLocks/>
          </p:cNvSpPr>
          <p:nvPr/>
        </p:nvSpPr>
        <p:spPr bwMode="auto">
          <a:xfrm>
            <a:off x="768855" y="129928"/>
            <a:ext cx="7765366" cy="822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ASENTAMIENTO</a:t>
            </a:r>
          </a:p>
        </p:txBody>
      </p:sp>
      <p:graphicFrame>
        <p:nvGraphicFramePr>
          <p:cNvPr id="4" name="Diagrama 3">
            <a:extLst>
              <a:ext uri="{FF2B5EF4-FFF2-40B4-BE49-F238E27FC236}">
                <a16:creationId xmlns:a16="http://schemas.microsoft.com/office/drawing/2014/main" id="{91A14968-991F-4EBD-A79B-3B1D0CF12C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4423336"/>
              </p:ext>
            </p:extLst>
          </p:nvPr>
        </p:nvGraphicFramePr>
        <p:xfrm>
          <a:off x="1012694" y="1734625"/>
          <a:ext cx="6977753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716615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885ED465-5DA8-4E9F-ABEB-761733AF3489}"/>
              </a:ext>
            </a:extLst>
          </p:cNvPr>
          <p:cNvSpPr txBox="1"/>
          <p:nvPr/>
        </p:nvSpPr>
        <p:spPr>
          <a:xfrm>
            <a:off x="-74576" y="5547192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C6A2ADBD-5194-47BB-BB31-309B8F6260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2218253"/>
              </p:ext>
            </p:extLst>
          </p:nvPr>
        </p:nvGraphicFramePr>
        <p:xfrm>
          <a:off x="2090159" y="2100764"/>
          <a:ext cx="4344751" cy="116762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23255">
                  <a:extLst>
                    <a:ext uri="{9D8B030D-6E8A-4147-A177-3AD203B41FA5}">
                      <a16:colId xmlns:a16="http://schemas.microsoft.com/office/drawing/2014/main" val="4205532048"/>
                    </a:ext>
                  </a:extLst>
                </a:gridCol>
                <a:gridCol w="1205948">
                  <a:extLst>
                    <a:ext uri="{9D8B030D-6E8A-4147-A177-3AD203B41FA5}">
                      <a16:colId xmlns:a16="http://schemas.microsoft.com/office/drawing/2014/main" val="2831604016"/>
                    </a:ext>
                  </a:extLst>
                </a:gridCol>
                <a:gridCol w="1815548">
                  <a:extLst>
                    <a:ext uri="{9D8B030D-6E8A-4147-A177-3AD203B41FA5}">
                      <a16:colId xmlns:a16="http://schemas.microsoft.com/office/drawing/2014/main" val="1056937322"/>
                    </a:ext>
                  </a:extLst>
                </a:gridCol>
              </a:tblGrid>
              <a:tr h="7549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>
                          <a:solidFill>
                            <a:sysClr val="windowText" lastClr="000000"/>
                          </a:solidFill>
                        </a:rPr>
                        <a:t>No. DE PROYECTOS</a:t>
                      </a:r>
                      <a:endParaRPr lang="en-US" sz="1600" b="1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>
                          <a:solidFill>
                            <a:sysClr val="windowText" lastClr="000000"/>
                          </a:solidFill>
                        </a:rPr>
                        <a:t>No. DE CONSULTAS</a:t>
                      </a:r>
                      <a:endParaRPr lang="en-US" sz="1600" b="1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No. DE CONSULTAS PROTOCOLIZADAS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908708"/>
                  </a:ext>
                </a:extLst>
              </a:tr>
              <a:tr h="412706">
                <a:tc>
                  <a:txBody>
                    <a:bodyPr/>
                    <a:lstStyle/>
                    <a:p>
                      <a:pPr algn="ctr"/>
                      <a:r>
                        <a:rPr lang="es-CO" sz="1600" dirty="0">
                          <a:solidFill>
                            <a:sysClr val="windowText" lastClr="000000"/>
                          </a:solidFill>
                        </a:rPr>
                        <a:t>8</a:t>
                      </a:r>
                      <a:endParaRPr lang="es-CO" sz="1600" b="1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>
                          <a:solidFill>
                            <a:sysClr val="windowText" lastClr="000000"/>
                          </a:solidFill>
                        </a:rPr>
                        <a:t>34</a:t>
                      </a:r>
                      <a:endParaRPr lang="es-CO" sz="1600" b="1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b="0" dirty="0">
                          <a:solidFill>
                            <a:sysClr val="windowText" lastClr="000000"/>
                          </a:solidFill>
                          <a:latin typeface="+mn-lt"/>
                        </a:rPr>
                        <a:t>24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1618015"/>
                  </a:ext>
                </a:extLst>
              </a:tr>
            </a:tbl>
          </a:graphicData>
        </a:graphic>
      </p:graphicFrame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D11C59C7-9E6F-4409-B429-1316368484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897788"/>
              </p:ext>
            </p:extLst>
          </p:nvPr>
        </p:nvGraphicFramePr>
        <p:xfrm>
          <a:off x="2625891" y="3348365"/>
          <a:ext cx="3273288" cy="100766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92213">
                  <a:extLst>
                    <a:ext uri="{9D8B030D-6E8A-4147-A177-3AD203B41FA5}">
                      <a16:colId xmlns:a16="http://schemas.microsoft.com/office/drawing/2014/main" val="3494295106"/>
                    </a:ext>
                  </a:extLst>
                </a:gridCol>
                <a:gridCol w="1302128">
                  <a:extLst>
                    <a:ext uri="{9D8B030D-6E8A-4147-A177-3AD203B41FA5}">
                      <a16:colId xmlns:a16="http://schemas.microsoft.com/office/drawing/2014/main" val="2566714248"/>
                    </a:ext>
                  </a:extLst>
                </a:gridCol>
                <a:gridCol w="978947">
                  <a:extLst>
                    <a:ext uri="{9D8B030D-6E8A-4147-A177-3AD203B41FA5}">
                      <a16:colId xmlns:a16="http://schemas.microsoft.com/office/drawing/2014/main" val="2741368487"/>
                    </a:ext>
                  </a:extLst>
                </a:gridCol>
              </a:tblGrid>
              <a:tr h="28802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</a:rPr>
                        <a:t>COMUNIDADES</a:t>
                      </a:r>
                      <a:endParaRPr lang="en-US" sz="1600" b="1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4661074"/>
                  </a:ext>
                </a:extLst>
              </a:tr>
              <a:tr h="1944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</a:rPr>
                        <a:t>NEGRAS</a:t>
                      </a:r>
                      <a:endParaRPr lang="en-US" sz="1600" b="1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</a:rPr>
                        <a:t>INDÍGENAS</a:t>
                      </a:r>
                      <a:endParaRPr lang="en-US" sz="1600" b="1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</a:rPr>
                        <a:t>TOTAL</a:t>
                      </a:r>
                      <a:endParaRPr lang="en-US" sz="1600" b="1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9903057"/>
                  </a:ext>
                </a:extLst>
              </a:tr>
              <a:tr h="337107">
                <a:tc>
                  <a:txBody>
                    <a:bodyPr/>
                    <a:lstStyle/>
                    <a:p>
                      <a:pPr algn="ctr"/>
                      <a:r>
                        <a:rPr lang="es-CO" sz="1600" dirty="0">
                          <a:solidFill>
                            <a:sysClr val="windowText" lastClr="000000"/>
                          </a:solidFill>
                        </a:rPr>
                        <a:t>12</a:t>
                      </a:r>
                      <a:endParaRPr lang="es-CO" sz="1600" b="1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>
                          <a:solidFill>
                            <a:sysClr val="windowText" lastClr="000000"/>
                          </a:solidFill>
                        </a:rPr>
                        <a:t>22</a:t>
                      </a:r>
                      <a:endParaRPr lang="es-CO" sz="16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>
                          <a:solidFill>
                            <a:sysClr val="windowText" lastClr="000000"/>
                          </a:solidFill>
                        </a:rPr>
                        <a:t>34</a:t>
                      </a:r>
                      <a:endParaRPr lang="es-CO" sz="1600" b="1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385129"/>
                  </a:ext>
                </a:extLst>
              </a:tr>
            </a:tbl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C6B2E7B4-51AF-454D-BC47-9B07E2165ADC}"/>
              </a:ext>
            </a:extLst>
          </p:cNvPr>
          <p:cNvSpPr txBox="1">
            <a:spLocks/>
          </p:cNvSpPr>
          <p:nvPr/>
        </p:nvSpPr>
        <p:spPr bwMode="auto">
          <a:xfrm>
            <a:off x="-380201" y="273693"/>
            <a:ext cx="9285475" cy="71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ONSULTAS </a:t>
            </a:r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EVIAS</a:t>
            </a:r>
          </a:p>
        </p:txBody>
      </p:sp>
    </p:spTree>
    <p:extLst>
      <p:ext uri="{BB962C8B-B14F-4D97-AF65-F5344CB8AC3E}">
        <p14:creationId xmlns:p14="http://schemas.microsoft.com/office/powerpoint/2010/main" val="37053344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DC9FCC23-846E-448A-8A3B-C97B63A4E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26C5252-915C-4C0B-92CC-C0EB3BB47F01}"/>
              </a:ext>
            </a:extLst>
          </p:cNvPr>
          <p:cNvSpPr txBox="1">
            <a:spLocks/>
          </p:cNvSpPr>
          <p:nvPr/>
        </p:nvSpPr>
        <p:spPr bwMode="auto">
          <a:xfrm>
            <a:off x="-174493" y="948292"/>
            <a:ext cx="9285475" cy="71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VANCES</a:t>
            </a:r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C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ONSULTAS </a:t>
            </a:r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EVIA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2E7D051-FDC5-4D2E-9F61-FF69657365E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12988" t="32140" r="16139" b="24564"/>
          <a:stretch/>
        </p:blipFill>
        <p:spPr>
          <a:xfrm>
            <a:off x="0" y="1780861"/>
            <a:ext cx="9144000" cy="3214687"/>
          </a:xfrm>
          <a:prstGeom prst="rect">
            <a:avLst/>
          </a:prstGeom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68CF4174-B735-4F0B-A083-1F26D0F93485}"/>
              </a:ext>
            </a:extLst>
          </p:cNvPr>
          <p:cNvSpPr/>
          <p:nvPr/>
        </p:nvSpPr>
        <p:spPr>
          <a:xfrm>
            <a:off x="306009" y="2154660"/>
            <a:ext cx="141135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ES" sz="2400" b="1" dirty="0">
                <a:solidFill>
                  <a:srgbClr val="000000"/>
                </a:solidFill>
              </a:rPr>
              <a:t>24</a:t>
            </a:r>
          </a:p>
          <a:p>
            <a:pPr lvl="0" algn="ctr"/>
            <a:r>
              <a:rPr lang="es-ES" sz="1500" dirty="0">
                <a:solidFill>
                  <a:srgbClr val="000000"/>
                </a:solidFill>
              </a:rPr>
              <a:t>CP</a:t>
            </a:r>
            <a:br>
              <a:rPr lang="es-ES" sz="1500" dirty="0">
                <a:solidFill>
                  <a:srgbClr val="000000"/>
                </a:solidFill>
              </a:rPr>
            </a:br>
            <a:r>
              <a:rPr lang="es-ES" sz="1500" dirty="0">
                <a:solidFill>
                  <a:srgbClr val="000000"/>
                </a:solidFill>
              </a:rPr>
              <a:t>Protocolizadas 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325F63D8-3456-4EC3-BB86-53D4879C56FD}"/>
              </a:ext>
            </a:extLst>
          </p:cNvPr>
          <p:cNvSpPr/>
          <p:nvPr/>
        </p:nvSpPr>
        <p:spPr>
          <a:xfrm>
            <a:off x="2008913" y="3388204"/>
            <a:ext cx="141135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ES" sz="2400" b="1" dirty="0">
                <a:solidFill>
                  <a:srgbClr val="000000"/>
                </a:solidFill>
              </a:rPr>
              <a:t>10</a:t>
            </a:r>
          </a:p>
          <a:p>
            <a:pPr lvl="0" algn="ctr"/>
            <a:r>
              <a:rPr lang="es-ES" sz="1500" dirty="0">
                <a:solidFill>
                  <a:srgbClr val="000000"/>
                </a:solidFill>
              </a:rPr>
              <a:t>CP en desarrollo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7FD8C53A-09DF-4C1B-9CBB-2EEE7855F194}"/>
              </a:ext>
            </a:extLst>
          </p:cNvPr>
          <p:cNvSpPr/>
          <p:nvPr/>
        </p:nvSpPr>
        <p:spPr>
          <a:xfrm>
            <a:off x="3853070" y="2452246"/>
            <a:ext cx="1230350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ES" sz="2400" b="1" dirty="0">
                <a:solidFill>
                  <a:srgbClr val="000000"/>
                </a:solidFill>
              </a:rPr>
              <a:t>1</a:t>
            </a:r>
          </a:p>
          <a:p>
            <a:pPr lvl="0" algn="ctr"/>
            <a:r>
              <a:rPr lang="es-ES" sz="1500" dirty="0">
                <a:solidFill>
                  <a:srgbClr val="000000"/>
                </a:solidFill>
              </a:rPr>
              <a:t>Apertura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89CDED93-C963-42C8-AD56-B24154147C1A}"/>
              </a:ext>
            </a:extLst>
          </p:cNvPr>
          <p:cNvSpPr/>
          <p:nvPr/>
        </p:nvSpPr>
        <p:spPr>
          <a:xfrm>
            <a:off x="5666960" y="3503620"/>
            <a:ext cx="1230350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ES" sz="2400" b="1" dirty="0">
                <a:solidFill>
                  <a:srgbClr val="000000"/>
                </a:solidFill>
              </a:rPr>
              <a:t>5</a:t>
            </a:r>
          </a:p>
          <a:p>
            <a:pPr lvl="0" algn="ctr"/>
            <a:r>
              <a:rPr lang="es-ES" sz="1500" dirty="0">
                <a:solidFill>
                  <a:srgbClr val="000000"/>
                </a:solidFill>
              </a:rPr>
              <a:t>Talleres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58E7D126-3304-4DFB-AAFB-A7C1FF1742D6}"/>
              </a:ext>
            </a:extLst>
          </p:cNvPr>
          <p:cNvSpPr/>
          <p:nvPr/>
        </p:nvSpPr>
        <p:spPr>
          <a:xfrm>
            <a:off x="7641381" y="2438501"/>
            <a:ext cx="1230350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ES" sz="2400" b="1" dirty="0">
                <a:solidFill>
                  <a:srgbClr val="000000"/>
                </a:solidFill>
              </a:rPr>
              <a:t>2</a:t>
            </a:r>
          </a:p>
          <a:p>
            <a:pPr lvl="0" algn="ctr"/>
            <a:r>
              <a:rPr lang="es-ES" sz="1500" dirty="0">
                <a:solidFill>
                  <a:srgbClr val="000000"/>
                </a:solidFill>
              </a:rPr>
              <a:t>Protocolizar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3D396759-D8AD-4DC2-A97E-74C4F0AC97A9}"/>
              </a:ext>
            </a:extLst>
          </p:cNvPr>
          <p:cNvGrpSpPr/>
          <p:nvPr/>
        </p:nvGrpSpPr>
        <p:grpSpPr>
          <a:xfrm>
            <a:off x="7256776" y="3887957"/>
            <a:ext cx="1614956" cy="1646262"/>
            <a:chOff x="5471821" y="1"/>
            <a:chExt cx="1913456" cy="1587261"/>
          </a:xfrm>
          <a:solidFill>
            <a:srgbClr val="F0C0AA"/>
          </a:solidFill>
        </p:grpSpPr>
        <p:sp>
          <p:nvSpPr>
            <p:cNvPr id="13" name="Elipse 12">
              <a:extLst>
                <a:ext uri="{FF2B5EF4-FFF2-40B4-BE49-F238E27FC236}">
                  <a16:creationId xmlns:a16="http://schemas.microsoft.com/office/drawing/2014/main" id="{3AEEC8D9-D911-4766-BAD0-66A58607B723}"/>
                </a:ext>
              </a:extLst>
            </p:cNvPr>
            <p:cNvSpPr/>
            <p:nvPr/>
          </p:nvSpPr>
          <p:spPr>
            <a:xfrm>
              <a:off x="5471821" y="1"/>
              <a:ext cx="1913456" cy="1587261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rgbClr val="F0C0AA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Elipse 4">
              <a:extLst>
                <a:ext uri="{FF2B5EF4-FFF2-40B4-BE49-F238E27FC236}">
                  <a16:creationId xmlns:a16="http://schemas.microsoft.com/office/drawing/2014/main" id="{42A4A807-1FDA-4BCF-A112-6B6A87428F25}"/>
                </a:ext>
              </a:extLst>
            </p:cNvPr>
            <p:cNvSpPr txBox="1"/>
            <p:nvPr/>
          </p:nvSpPr>
          <p:spPr>
            <a:xfrm>
              <a:off x="5813306" y="297117"/>
              <a:ext cx="1230485" cy="1024414"/>
            </a:xfrm>
            <a:prstGeom prst="rect">
              <a:avLst/>
            </a:prstGeom>
            <a:solidFill>
              <a:schemeClr val="bg1"/>
            </a:solidFill>
            <a:ln w="7620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9050" tIns="19050" rIns="19050" bIns="19050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2400" b="1" dirty="0">
                  <a:solidFill>
                    <a:srgbClr val="000000"/>
                  </a:solidFill>
                </a:rPr>
                <a:t>1</a:t>
              </a:r>
              <a:br>
                <a:rPr lang="es-ES" sz="2400" b="1" dirty="0">
                  <a:solidFill>
                    <a:srgbClr val="000000"/>
                  </a:solidFill>
                </a:rPr>
              </a:br>
              <a:r>
                <a:rPr lang="es-ES" sz="1500" dirty="0">
                  <a:solidFill>
                    <a:srgbClr val="000000"/>
                  </a:solidFill>
                </a:rPr>
                <a:t>CERRADA Córdoba - Sucre </a:t>
              </a:r>
              <a:endParaRPr lang="es-ES" sz="1500" kern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Elipse 14">
            <a:extLst>
              <a:ext uri="{FF2B5EF4-FFF2-40B4-BE49-F238E27FC236}">
                <a16:creationId xmlns:a16="http://schemas.microsoft.com/office/drawing/2014/main" id="{E6A3459E-2EA4-4A93-99F5-7283EA41D5C2}"/>
              </a:ext>
            </a:extLst>
          </p:cNvPr>
          <p:cNvSpPr/>
          <p:nvPr/>
        </p:nvSpPr>
        <p:spPr>
          <a:xfrm>
            <a:off x="306009" y="1900131"/>
            <a:ext cx="1430635" cy="1488073"/>
          </a:xfrm>
          <a:prstGeom prst="ellipse">
            <a:avLst/>
          </a:pr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3499ABE5-A4E2-4D30-812A-96A3588A67C6}"/>
              </a:ext>
            </a:extLst>
          </p:cNvPr>
          <p:cNvSpPr/>
          <p:nvPr/>
        </p:nvSpPr>
        <p:spPr>
          <a:xfrm>
            <a:off x="1907412" y="3032774"/>
            <a:ext cx="1673389" cy="1743078"/>
          </a:xfrm>
          <a:prstGeom prst="ellipse">
            <a:avLst/>
          </a:pr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565D3FB0-3C78-4354-9D46-E258A39B7D3E}"/>
              </a:ext>
            </a:extLst>
          </p:cNvPr>
          <p:cNvSpPr/>
          <p:nvPr/>
        </p:nvSpPr>
        <p:spPr>
          <a:xfrm>
            <a:off x="5422856" y="3091242"/>
            <a:ext cx="1673389" cy="1743078"/>
          </a:xfrm>
          <a:prstGeom prst="ellipse">
            <a:avLst/>
          </a:pr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19D4914F-9CB4-46B3-90E8-78DFDB9F0461}"/>
              </a:ext>
            </a:extLst>
          </p:cNvPr>
          <p:cNvSpPr/>
          <p:nvPr/>
        </p:nvSpPr>
        <p:spPr>
          <a:xfrm>
            <a:off x="7422429" y="2045904"/>
            <a:ext cx="1567976" cy="1611541"/>
          </a:xfrm>
          <a:prstGeom prst="ellipse">
            <a:avLst/>
          </a:pr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C0D03BCF-81CB-4F3D-B3C4-7FDE9DDF6C2B}"/>
              </a:ext>
            </a:extLst>
          </p:cNvPr>
          <p:cNvSpPr/>
          <p:nvPr/>
        </p:nvSpPr>
        <p:spPr>
          <a:xfrm>
            <a:off x="7227558" y="3848024"/>
            <a:ext cx="1673389" cy="1743078"/>
          </a:xfrm>
          <a:prstGeom prst="ellipse">
            <a:avLst/>
          </a:pr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63F13FFE-19C9-4FB0-AA04-691445F1D0DE}"/>
              </a:ext>
            </a:extLst>
          </p:cNvPr>
          <p:cNvSpPr/>
          <p:nvPr/>
        </p:nvSpPr>
        <p:spPr>
          <a:xfrm>
            <a:off x="3860749" y="2274912"/>
            <a:ext cx="1328688" cy="1281716"/>
          </a:xfrm>
          <a:prstGeom prst="ellipse">
            <a:avLst/>
          </a:prstGeom>
          <a:noFill/>
          <a:ln w="762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A586AC6E-8880-466F-A975-F5B9199EB733}"/>
              </a:ext>
            </a:extLst>
          </p:cNvPr>
          <p:cNvSpPr/>
          <p:nvPr/>
        </p:nvSpPr>
        <p:spPr>
          <a:xfrm>
            <a:off x="231310" y="1820617"/>
            <a:ext cx="1584000" cy="1656000"/>
          </a:xfrm>
          <a:prstGeom prst="ellipse">
            <a:avLst/>
          </a:prstGeom>
          <a:noFill/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2" name="Elipse 21">
            <a:extLst>
              <a:ext uri="{FF2B5EF4-FFF2-40B4-BE49-F238E27FC236}">
                <a16:creationId xmlns:a16="http://schemas.microsoft.com/office/drawing/2014/main" id="{C5A95DA8-A6A6-4B69-8986-6E7955BE6032}"/>
              </a:ext>
            </a:extLst>
          </p:cNvPr>
          <p:cNvSpPr/>
          <p:nvPr/>
        </p:nvSpPr>
        <p:spPr>
          <a:xfrm>
            <a:off x="1806327" y="2935231"/>
            <a:ext cx="1872000" cy="1944000"/>
          </a:xfrm>
          <a:prstGeom prst="ellipse">
            <a:avLst/>
          </a:prstGeom>
          <a:noFill/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3" name="Elipse 22">
            <a:extLst>
              <a:ext uri="{FF2B5EF4-FFF2-40B4-BE49-F238E27FC236}">
                <a16:creationId xmlns:a16="http://schemas.microsoft.com/office/drawing/2014/main" id="{C3D1999D-F9EB-47F0-B3F1-58F14E07431F}"/>
              </a:ext>
            </a:extLst>
          </p:cNvPr>
          <p:cNvSpPr/>
          <p:nvPr/>
        </p:nvSpPr>
        <p:spPr>
          <a:xfrm>
            <a:off x="3754582" y="2173721"/>
            <a:ext cx="1512000" cy="1476000"/>
          </a:xfrm>
          <a:prstGeom prst="ellipse">
            <a:avLst/>
          </a:prstGeom>
          <a:noFill/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C8128C9C-EA51-4ADC-8DAC-C3097F6EAD07}"/>
              </a:ext>
            </a:extLst>
          </p:cNvPr>
          <p:cNvSpPr/>
          <p:nvPr/>
        </p:nvSpPr>
        <p:spPr>
          <a:xfrm>
            <a:off x="5340949" y="2990781"/>
            <a:ext cx="1872000" cy="1944000"/>
          </a:xfrm>
          <a:prstGeom prst="ellipse">
            <a:avLst/>
          </a:prstGeom>
          <a:noFill/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59175165-0B1F-493A-94BB-FC6A6BF2B02E}"/>
              </a:ext>
            </a:extLst>
          </p:cNvPr>
          <p:cNvSpPr/>
          <p:nvPr/>
        </p:nvSpPr>
        <p:spPr>
          <a:xfrm>
            <a:off x="7336288" y="1963231"/>
            <a:ext cx="1728000" cy="1764000"/>
          </a:xfrm>
          <a:prstGeom prst="ellipse">
            <a:avLst/>
          </a:prstGeom>
          <a:noFill/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id="{E958531E-C92E-414D-B7FB-64E38DB3EDE4}"/>
              </a:ext>
            </a:extLst>
          </p:cNvPr>
          <p:cNvSpPr/>
          <p:nvPr/>
        </p:nvSpPr>
        <p:spPr>
          <a:xfrm>
            <a:off x="7306714" y="3929172"/>
            <a:ext cx="1512000" cy="1584000"/>
          </a:xfrm>
          <a:prstGeom prst="ellipse">
            <a:avLst/>
          </a:prstGeom>
          <a:noFill/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graphicFrame>
        <p:nvGraphicFramePr>
          <p:cNvPr id="30" name="Tabla 29">
            <a:extLst>
              <a:ext uri="{FF2B5EF4-FFF2-40B4-BE49-F238E27FC236}">
                <a16:creationId xmlns:a16="http://schemas.microsoft.com/office/drawing/2014/main" id="{8CE5D4FC-3D51-45E6-B711-1BF337F365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0509637"/>
              </p:ext>
            </p:extLst>
          </p:nvPr>
        </p:nvGraphicFramePr>
        <p:xfrm>
          <a:off x="3445012" y="7351616"/>
          <a:ext cx="2058309" cy="777240"/>
        </p:xfrm>
        <a:graphic>
          <a:graphicData uri="http://schemas.openxmlformats.org/drawingml/2006/table">
            <a:tbl>
              <a:tblPr firstRow="1" bandRow="1">
                <a:tableStyleId>{69C7853C-536D-4A76-A0AE-DD22124D55A5}</a:tableStyleId>
              </a:tblPr>
              <a:tblGrid>
                <a:gridCol w="2058309">
                  <a:extLst>
                    <a:ext uri="{9D8B030D-6E8A-4147-A177-3AD203B41FA5}">
                      <a16:colId xmlns:a16="http://schemas.microsoft.com/office/drawing/2014/main" val="3494295106"/>
                    </a:ext>
                  </a:extLst>
                </a:gridCol>
              </a:tblGrid>
              <a:tr h="30815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500" noProof="0" dirty="0">
                          <a:solidFill>
                            <a:srgbClr val="000000"/>
                          </a:solidFill>
                        </a:rPr>
                        <a:t>Apoyo Consulta</a:t>
                      </a:r>
                      <a:r>
                        <a:rPr lang="es-CO" sz="1500" baseline="0" noProof="0" dirty="0">
                          <a:solidFill>
                            <a:srgbClr val="000000"/>
                          </a:solidFill>
                        </a:rPr>
                        <a:t> Previa de Buenaventura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500" b="1" baseline="0" noProof="0" dirty="0">
                          <a:solidFill>
                            <a:srgbClr val="000000"/>
                          </a:solidFill>
                          <a:latin typeface="+mn-lt"/>
                        </a:rPr>
                        <a:t>Con 2 comunidades </a:t>
                      </a:r>
                      <a:endParaRPr lang="es-CO" sz="1500" b="1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4661074"/>
                  </a:ext>
                </a:extLst>
              </a:tr>
            </a:tbl>
          </a:graphicData>
        </a:graphic>
      </p:graphicFrame>
      <p:sp>
        <p:nvSpPr>
          <p:cNvPr id="31" name="CuadroTexto 30">
            <a:extLst>
              <a:ext uri="{FF2B5EF4-FFF2-40B4-BE49-F238E27FC236}">
                <a16:creationId xmlns:a16="http://schemas.microsoft.com/office/drawing/2014/main" id="{01310026-BA14-43AD-B11D-9C753424CFB2}"/>
              </a:ext>
            </a:extLst>
          </p:cNvPr>
          <p:cNvSpPr txBox="1"/>
          <p:nvPr/>
        </p:nvSpPr>
        <p:spPr>
          <a:xfrm>
            <a:off x="-74576" y="5547192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</p:spTree>
    <p:extLst>
      <p:ext uri="{BB962C8B-B14F-4D97-AF65-F5344CB8AC3E}">
        <p14:creationId xmlns:p14="http://schemas.microsoft.com/office/powerpoint/2010/main" val="5114551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5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534920" y="3088640"/>
            <a:ext cx="5956300" cy="1016000"/>
          </a:xfrm>
        </p:spPr>
        <p:txBody>
          <a:bodyPr/>
          <a:lstStyle/>
          <a:p>
            <a:pPr algn="ctr"/>
            <a:r>
              <a:rPr lang="es-ES" sz="8000" dirty="0">
                <a:latin typeface="+mj-lt"/>
              </a:rPr>
              <a:t>G</a:t>
            </a:r>
            <a:r>
              <a:rPr lang="es-ES" sz="6600" dirty="0">
                <a:latin typeface="+mj-lt"/>
              </a:rPr>
              <a:t>RACIAS </a:t>
            </a:r>
            <a:endParaRPr lang="es-CO" sz="6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396555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1D9CF7D6-110E-4F6D-AB7B-E4FB5E464D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B1FC1-F037-408E-9442-7E4F7866E456}" type="slidenum">
              <a:rPr lang="es-419" smtClean="0"/>
              <a:t>2</a:t>
            </a:fld>
            <a:endParaRPr lang="es-419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81D1976D-E58C-4ACD-B609-02157C788F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870" t="27531" r="21884" b="15960"/>
          <a:stretch/>
        </p:blipFill>
        <p:spPr>
          <a:xfrm rot="10800000">
            <a:off x="1639157" y="1537981"/>
            <a:ext cx="5934046" cy="3414290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1F0D66F9-9BAD-4376-9C2E-56A8E902C619}"/>
              </a:ext>
            </a:extLst>
          </p:cNvPr>
          <p:cNvSpPr txBox="1"/>
          <p:nvPr/>
        </p:nvSpPr>
        <p:spPr>
          <a:xfrm>
            <a:off x="4318399" y="2363372"/>
            <a:ext cx="675632" cy="576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3EAC2C8C-F895-4A01-9911-E97394525EF0}"/>
              </a:ext>
            </a:extLst>
          </p:cNvPr>
          <p:cNvSpPr txBox="1"/>
          <p:nvPr/>
        </p:nvSpPr>
        <p:spPr>
          <a:xfrm>
            <a:off x="2109753" y="3245126"/>
            <a:ext cx="115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solidFill>
                  <a:schemeClr val="accent4"/>
                </a:solidFill>
              </a:rPr>
              <a:t>46</a:t>
            </a:r>
          </a:p>
          <a:p>
            <a:pPr algn="ctr"/>
            <a:r>
              <a:rPr lang="es-CO" sz="2000" b="1" dirty="0">
                <a:solidFill>
                  <a:schemeClr val="accent4"/>
                </a:solidFill>
              </a:rPr>
              <a:t>Fijas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3991D003-9291-468C-BA8B-057664F2E3F2}"/>
              </a:ext>
            </a:extLst>
          </p:cNvPr>
          <p:cNvSpPr txBox="1"/>
          <p:nvPr/>
        </p:nvSpPr>
        <p:spPr>
          <a:xfrm>
            <a:off x="6094148" y="3614458"/>
            <a:ext cx="115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solidFill>
                  <a:schemeClr val="accent4"/>
                </a:solidFill>
              </a:rPr>
              <a:t>41</a:t>
            </a:r>
          </a:p>
          <a:p>
            <a:pPr algn="ctr"/>
            <a:r>
              <a:rPr lang="es-CO" sz="2000" b="1" dirty="0">
                <a:solidFill>
                  <a:schemeClr val="accent4"/>
                </a:solidFill>
              </a:rPr>
              <a:t>Satélites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8CE5FFFC-3F18-4DDE-8A4C-CF57EC415052}"/>
              </a:ext>
            </a:extLst>
          </p:cNvPr>
          <p:cNvSpPr txBox="1"/>
          <p:nvPr/>
        </p:nvSpPr>
        <p:spPr>
          <a:xfrm>
            <a:off x="4101673" y="2133695"/>
            <a:ext cx="115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solidFill>
                  <a:schemeClr val="accent4"/>
                </a:solidFill>
              </a:rPr>
              <a:t>59</a:t>
            </a:r>
          </a:p>
          <a:p>
            <a:pPr algn="ctr"/>
            <a:r>
              <a:rPr lang="es-CO" sz="2000" b="1" dirty="0">
                <a:solidFill>
                  <a:schemeClr val="accent4"/>
                </a:solidFill>
              </a:rPr>
              <a:t>Móviles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DC355E67-A916-4CAB-9956-34C71B33ACE0}"/>
              </a:ext>
            </a:extLst>
          </p:cNvPr>
          <p:cNvSpPr txBox="1"/>
          <p:nvPr/>
        </p:nvSpPr>
        <p:spPr>
          <a:xfrm>
            <a:off x="2920168" y="5063429"/>
            <a:ext cx="3516942" cy="83099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solidFill>
                  <a:schemeClr val="accent4"/>
                </a:solidFill>
              </a:rPr>
              <a:t>146</a:t>
            </a:r>
          </a:p>
          <a:p>
            <a:pPr algn="ctr"/>
            <a:r>
              <a:rPr lang="es-CO" sz="2000" dirty="0">
                <a:solidFill>
                  <a:schemeClr val="accent4"/>
                </a:solidFill>
              </a:rPr>
              <a:t>Oficinas de atención al Usuario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78964CF0-1AA5-4B36-AFF5-BCCBEBBB9C4C}"/>
              </a:ext>
            </a:extLst>
          </p:cNvPr>
          <p:cNvSpPr txBox="1"/>
          <p:nvPr/>
        </p:nvSpPr>
        <p:spPr>
          <a:xfrm>
            <a:off x="604510" y="2133695"/>
            <a:ext cx="15052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200" b="1" dirty="0">
                <a:solidFill>
                  <a:schemeClr val="accent4"/>
                </a:solidFill>
              </a:rPr>
              <a:t>O</a:t>
            </a:r>
            <a:r>
              <a:rPr lang="es-CO" sz="2400" b="1" dirty="0">
                <a:solidFill>
                  <a:schemeClr val="accent4"/>
                </a:solidFill>
              </a:rPr>
              <a:t>FICINAS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E733D277-E9DC-4588-8BD9-DE5203F06060}"/>
              </a:ext>
            </a:extLst>
          </p:cNvPr>
          <p:cNvSpPr txBox="1"/>
          <p:nvPr/>
        </p:nvSpPr>
        <p:spPr>
          <a:xfrm>
            <a:off x="185532" y="6337266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5AF78D4-BCDF-4695-AF06-783EB9EE8D46}"/>
              </a:ext>
            </a:extLst>
          </p:cNvPr>
          <p:cNvSpPr txBox="1">
            <a:spLocks/>
          </p:cNvSpPr>
          <p:nvPr/>
        </p:nvSpPr>
        <p:spPr bwMode="auto">
          <a:xfrm>
            <a:off x="-178777" y="251299"/>
            <a:ext cx="9285475" cy="71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TENCIÓN AL </a:t>
            </a:r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U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UARIO</a:t>
            </a:r>
          </a:p>
        </p:txBody>
      </p:sp>
    </p:spTree>
    <p:extLst>
      <p:ext uri="{BB962C8B-B14F-4D97-AF65-F5344CB8AC3E}">
        <p14:creationId xmlns:p14="http://schemas.microsoft.com/office/powerpoint/2010/main" val="4665497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Marcador de contenido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44724510"/>
              </p:ext>
            </p:extLst>
          </p:nvPr>
        </p:nvGraphicFramePr>
        <p:xfrm>
          <a:off x="1169211" y="2341107"/>
          <a:ext cx="6584586" cy="11004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CuadroTexto 9"/>
          <p:cNvSpPr txBox="1"/>
          <p:nvPr/>
        </p:nvSpPr>
        <p:spPr>
          <a:xfrm>
            <a:off x="1451116" y="4164168"/>
            <a:ext cx="1663146" cy="400110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>
                <a:solidFill>
                  <a:schemeClr val="accent4"/>
                </a:solidFill>
                <a:latin typeface="+mj-lt"/>
              </a:rPr>
              <a:t>R</a:t>
            </a:r>
            <a:r>
              <a:rPr lang="es-CO" sz="1600" b="1" dirty="0">
                <a:solidFill>
                  <a:schemeClr val="accent4"/>
                </a:solidFill>
                <a:latin typeface="+mj-lt"/>
              </a:rPr>
              <a:t>ECIBIDAS</a:t>
            </a:r>
          </a:p>
        </p:txBody>
      </p:sp>
      <p:cxnSp>
        <p:nvCxnSpPr>
          <p:cNvPr id="16" name="Conector recto 15"/>
          <p:cNvCxnSpPr>
            <a:cxnSpLocks/>
          </p:cNvCxnSpPr>
          <p:nvPr/>
        </p:nvCxnSpPr>
        <p:spPr>
          <a:xfrm>
            <a:off x="2291070" y="3314999"/>
            <a:ext cx="0" cy="849169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/>
          <p:cNvCxnSpPr/>
          <p:nvPr/>
        </p:nvCxnSpPr>
        <p:spPr>
          <a:xfrm>
            <a:off x="4430526" y="3313420"/>
            <a:ext cx="0" cy="86400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3B63B854-BD08-4EC9-903E-453D3458834E}"/>
              </a:ext>
            </a:extLst>
          </p:cNvPr>
          <p:cNvSpPr txBox="1">
            <a:spLocks/>
          </p:cNvSpPr>
          <p:nvPr/>
        </p:nvSpPr>
        <p:spPr bwMode="auto">
          <a:xfrm>
            <a:off x="-203260" y="1492528"/>
            <a:ext cx="9285475" cy="71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</a:t>
            </a:r>
            <a:r>
              <a:rPr lang="es-419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TADO</a:t>
            </a:r>
            <a:r>
              <a:rPr lang="es-419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s-41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QRS</a:t>
            </a:r>
            <a:endParaRPr lang="es-419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5DBA6187-435D-4401-8356-09183BC60C6F}"/>
              </a:ext>
            </a:extLst>
          </p:cNvPr>
          <p:cNvSpPr txBox="1"/>
          <p:nvPr/>
        </p:nvSpPr>
        <p:spPr>
          <a:xfrm>
            <a:off x="3591339" y="4176781"/>
            <a:ext cx="1696278" cy="400110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>
                <a:solidFill>
                  <a:schemeClr val="accent4"/>
                </a:solidFill>
                <a:latin typeface="+mj-lt"/>
              </a:rPr>
              <a:t>A</a:t>
            </a:r>
            <a:r>
              <a:rPr lang="es-CO" sz="1600" b="1" dirty="0">
                <a:solidFill>
                  <a:schemeClr val="accent4"/>
                </a:solidFill>
                <a:latin typeface="+mj-lt"/>
              </a:rPr>
              <a:t>BIERTAS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94935411-86B8-404B-A618-5A3115174413}"/>
              </a:ext>
            </a:extLst>
          </p:cNvPr>
          <p:cNvSpPr txBox="1"/>
          <p:nvPr/>
        </p:nvSpPr>
        <p:spPr>
          <a:xfrm>
            <a:off x="5764694" y="4165747"/>
            <a:ext cx="1662378" cy="400110"/>
          </a:xfrm>
          <a:prstGeom prst="rect">
            <a:avLst/>
          </a:prstGeom>
          <a:noFill/>
          <a:ln w="28575"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CO" sz="2000" b="1" dirty="0">
                <a:solidFill>
                  <a:schemeClr val="accent4"/>
                </a:solidFill>
                <a:latin typeface="+mj-lt"/>
              </a:rPr>
              <a:t>C</a:t>
            </a:r>
            <a:r>
              <a:rPr lang="es-CO" sz="1600" b="1" dirty="0">
                <a:solidFill>
                  <a:schemeClr val="accent4"/>
                </a:solidFill>
                <a:latin typeface="+mj-lt"/>
              </a:rPr>
              <a:t>ERRADAS</a:t>
            </a: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1AD777DC-6BF7-4EA1-9A57-FD672891170A}"/>
              </a:ext>
            </a:extLst>
          </p:cNvPr>
          <p:cNvCxnSpPr/>
          <p:nvPr/>
        </p:nvCxnSpPr>
        <p:spPr>
          <a:xfrm>
            <a:off x="6570750" y="3320048"/>
            <a:ext cx="0" cy="82800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uadroTexto 3">
            <a:extLst>
              <a:ext uri="{FF2B5EF4-FFF2-40B4-BE49-F238E27FC236}">
                <a16:creationId xmlns:a16="http://schemas.microsoft.com/office/drawing/2014/main" id="{1F17AA35-D6CD-40CC-B7FE-AD32272529D5}"/>
              </a:ext>
            </a:extLst>
          </p:cNvPr>
          <p:cNvSpPr txBox="1"/>
          <p:nvPr/>
        </p:nvSpPr>
        <p:spPr>
          <a:xfrm>
            <a:off x="0" y="5102230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B7261D5-D790-4859-9BF9-320345B33342}"/>
              </a:ext>
            </a:extLst>
          </p:cNvPr>
          <p:cNvSpPr txBox="1">
            <a:spLocks/>
          </p:cNvSpPr>
          <p:nvPr/>
        </p:nvSpPr>
        <p:spPr bwMode="auto">
          <a:xfrm>
            <a:off x="-178777" y="251299"/>
            <a:ext cx="9285475" cy="71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TENCIÓN AL </a:t>
            </a:r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U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UARIO</a:t>
            </a:r>
          </a:p>
        </p:txBody>
      </p:sp>
    </p:spTree>
    <p:extLst>
      <p:ext uri="{BB962C8B-B14F-4D97-AF65-F5344CB8AC3E}">
        <p14:creationId xmlns:p14="http://schemas.microsoft.com/office/powerpoint/2010/main" val="9953668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D5FAFAB-7810-4C1C-85FC-7B636BF224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EE945A-A38E-4B7F-9801-CE45D60305BA}" type="slidenum">
              <a:rPr lang="es-CO" smtClean="0"/>
              <a:t>4</a:t>
            </a:fld>
            <a:endParaRPr lang="es-CO"/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33484DE2-6007-4666-9F8B-BD97CFBE8D97}"/>
              </a:ext>
            </a:extLst>
          </p:cNvPr>
          <p:cNvGrpSpPr/>
          <p:nvPr/>
        </p:nvGrpSpPr>
        <p:grpSpPr>
          <a:xfrm>
            <a:off x="4651539" y="1937715"/>
            <a:ext cx="3003094" cy="3460881"/>
            <a:chOff x="3585289" y="295347"/>
            <a:chExt cx="3003094" cy="3460881"/>
          </a:xfrm>
        </p:grpSpPr>
        <p:sp>
          <p:nvSpPr>
            <p:cNvPr id="11" name="Hexágono 10">
              <a:extLst>
                <a:ext uri="{FF2B5EF4-FFF2-40B4-BE49-F238E27FC236}">
                  <a16:creationId xmlns:a16="http://schemas.microsoft.com/office/drawing/2014/main" id="{420235B6-8CE5-4A30-95E2-E0079379F4F2}"/>
                </a:ext>
              </a:extLst>
            </p:cNvPr>
            <p:cNvSpPr/>
            <p:nvPr/>
          </p:nvSpPr>
          <p:spPr>
            <a:xfrm rot="5400000">
              <a:off x="3356395" y="524241"/>
              <a:ext cx="3460881" cy="3003094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Hexágono 4">
              <a:extLst>
                <a:ext uri="{FF2B5EF4-FFF2-40B4-BE49-F238E27FC236}">
                  <a16:creationId xmlns:a16="http://schemas.microsoft.com/office/drawing/2014/main" id="{229F6735-77B5-4A36-91B5-7721F8F51BFA}"/>
                </a:ext>
              </a:extLst>
            </p:cNvPr>
            <p:cNvSpPr txBox="1"/>
            <p:nvPr/>
          </p:nvSpPr>
          <p:spPr>
            <a:xfrm>
              <a:off x="4052701" y="834013"/>
              <a:ext cx="2068268" cy="238355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0" tIns="152400" rIns="152400" bIns="152400" numCol="1" spcCol="1270" anchor="ctr" anchorCtr="0">
              <a:noAutofit/>
            </a:bodyPr>
            <a:lstStyle/>
            <a:p>
              <a:pPr marL="0" lvl="0" indent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4000" b="1" kern="1200" dirty="0">
                  <a:solidFill>
                    <a:schemeClr val="accent4">
                      <a:lumMod val="50000"/>
                    </a:schemeClr>
                  </a:solidFill>
                  <a:latin typeface="+mj-lt"/>
                </a:rPr>
                <a:t>83.379</a:t>
              </a:r>
            </a:p>
            <a:p>
              <a:pPr marL="0" lvl="0" indent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1900" b="1" kern="1200" dirty="0">
                  <a:solidFill>
                    <a:schemeClr val="accent4">
                      <a:lumMod val="50000"/>
                    </a:schemeClr>
                  </a:solidFill>
                  <a:latin typeface="+mj-lt"/>
                </a:rPr>
                <a:t>EMPLEADOS CAPACITADOS</a:t>
              </a:r>
            </a:p>
          </p:txBody>
        </p:sp>
      </p:grpSp>
      <p:grpSp>
        <p:nvGrpSpPr>
          <p:cNvPr id="8" name="Grupo 7">
            <a:extLst>
              <a:ext uri="{FF2B5EF4-FFF2-40B4-BE49-F238E27FC236}">
                <a16:creationId xmlns:a16="http://schemas.microsoft.com/office/drawing/2014/main" id="{D40A3ED7-E235-445C-90BD-D751A7163603}"/>
              </a:ext>
            </a:extLst>
          </p:cNvPr>
          <p:cNvGrpSpPr/>
          <p:nvPr/>
        </p:nvGrpSpPr>
        <p:grpSpPr>
          <a:xfrm>
            <a:off x="1489367" y="1953087"/>
            <a:ext cx="2915608" cy="3394438"/>
            <a:chOff x="423117" y="310719"/>
            <a:chExt cx="2915608" cy="3394438"/>
          </a:xfrm>
          <a:scene3d>
            <a:camera prst="obliqueTopRight"/>
            <a:lightRig rig="threePt" dir="t"/>
          </a:scene3d>
        </p:grpSpPr>
        <p:sp>
          <p:nvSpPr>
            <p:cNvPr id="9" name="Hexágono 8">
              <a:extLst>
                <a:ext uri="{FF2B5EF4-FFF2-40B4-BE49-F238E27FC236}">
                  <a16:creationId xmlns:a16="http://schemas.microsoft.com/office/drawing/2014/main" id="{E359B37B-2207-4319-A9A6-91CF75F1F9A1}"/>
                </a:ext>
              </a:extLst>
            </p:cNvPr>
            <p:cNvSpPr/>
            <p:nvPr/>
          </p:nvSpPr>
          <p:spPr>
            <a:xfrm rot="5400000">
              <a:off x="183702" y="550134"/>
              <a:ext cx="3394438" cy="2915608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Hexágono 6">
              <a:extLst>
                <a:ext uri="{FF2B5EF4-FFF2-40B4-BE49-F238E27FC236}">
                  <a16:creationId xmlns:a16="http://schemas.microsoft.com/office/drawing/2014/main" id="{47915829-117D-400E-B463-13A4DD1087BB}"/>
                </a:ext>
              </a:extLst>
            </p:cNvPr>
            <p:cNvSpPr txBox="1"/>
            <p:nvPr/>
          </p:nvSpPr>
          <p:spPr>
            <a:xfrm>
              <a:off x="874778" y="836556"/>
              <a:ext cx="2012286" cy="23427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marL="0" lvl="0" indent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4000" b="1" kern="1200" dirty="0">
                  <a:solidFill>
                    <a:schemeClr val="accent4">
                      <a:lumMod val="50000"/>
                    </a:schemeClr>
                  </a:solidFill>
                  <a:latin typeface="+mj-lt"/>
                </a:rPr>
                <a:t>9.254</a:t>
              </a:r>
            </a:p>
            <a:p>
              <a:pPr marL="0" lvl="0" indent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1900" b="1" kern="1200" dirty="0">
                  <a:solidFill>
                    <a:schemeClr val="accent4">
                      <a:lumMod val="50000"/>
                    </a:schemeClr>
                  </a:solidFill>
                  <a:latin typeface="+mj-lt"/>
                </a:rPr>
                <a:t>CAPACITACIONES</a:t>
              </a:r>
            </a:p>
          </p:txBody>
        </p:sp>
      </p:grpSp>
      <p:pic>
        <p:nvPicPr>
          <p:cNvPr id="15" name="Picture 2" descr="Resultado de imagen para placa señalizacion HOMBRe y mujer">
            <a:extLst>
              <a:ext uri="{FF2B5EF4-FFF2-40B4-BE49-F238E27FC236}">
                <a16:creationId xmlns:a16="http://schemas.microsoft.com/office/drawing/2014/main" id="{6EF33F90-2042-4D16-B06F-E8B73CEAD1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64364" y="3292496"/>
            <a:ext cx="715619" cy="715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FD884BDE-D445-4D18-9F40-7181EDF7C930}"/>
              </a:ext>
            </a:extLst>
          </p:cNvPr>
          <p:cNvSpPr txBox="1">
            <a:spLocks/>
          </p:cNvSpPr>
          <p:nvPr/>
        </p:nvSpPr>
        <p:spPr bwMode="auto">
          <a:xfrm>
            <a:off x="768855" y="861448"/>
            <a:ext cx="7765366" cy="822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 fontScale="92500"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PACITACIÓN AL 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RSONAL 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V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NCULADO AL 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OYECTO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36AE4C9E-553E-4C7F-A286-B2B2F053A1B6}"/>
              </a:ext>
            </a:extLst>
          </p:cNvPr>
          <p:cNvSpPr txBox="1"/>
          <p:nvPr/>
        </p:nvSpPr>
        <p:spPr>
          <a:xfrm>
            <a:off x="185532" y="6337266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</p:spTree>
    <p:extLst>
      <p:ext uri="{BB962C8B-B14F-4D97-AF65-F5344CB8AC3E}">
        <p14:creationId xmlns:p14="http://schemas.microsoft.com/office/powerpoint/2010/main" val="13362599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BD24C5AC-068F-46AE-BE17-2A665A7A5E19}"/>
              </a:ext>
            </a:extLst>
          </p:cNvPr>
          <p:cNvSpPr txBox="1">
            <a:spLocks/>
          </p:cNvSpPr>
          <p:nvPr/>
        </p:nvSpPr>
        <p:spPr bwMode="auto">
          <a:xfrm>
            <a:off x="-141475" y="1027529"/>
            <a:ext cx="9285475" cy="71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V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NCULACIÓN DE </a:t>
            </a:r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M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NO DE </a:t>
            </a:r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O</a:t>
            </a:r>
            <a:r>
              <a:rPr lang="es-419" sz="3200" dirty="0">
                <a:solidFill>
                  <a:srgbClr val="38629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  <a:cs typeface="+mn-cs"/>
              </a:rPr>
              <a:t>BRA</a:t>
            </a:r>
            <a:endParaRPr lang="es-419" sz="32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6EC0431C-1FD4-4FB4-A0C9-4E0831F614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5911564"/>
              </p:ext>
            </p:extLst>
          </p:nvPr>
        </p:nvGraphicFramePr>
        <p:xfrm>
          <a:off x="1552653" y="1984000"/>
          <a:ext cx="5897218" cy="3169920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2835966">
                  <a:extLst>
                    <a:ext uri="{9D8B030D-6E8A-4147-A177-3AD203B41FA5}">
                      <a16:colId xmlns:a16="http://schemas.microsoft.com/office/drawing/2014/main" val="2088106827"/>
                    </a:ext>
                  </a:extLst>
                </a:gridCol>
                <a:gridCol w="3061252">
                  <a:extLst>
                    <a:ext uri="{9D8B030D-6E8A-4147-A177-3AD203B41FA5}">
                      <a16:colId xmlns:a16="http://schemas.microsoft.com/office/drawing/2014/main" val="1249468836"/>
                    </a:ext>
                  </a:extLst>
                </a:gridCol>
              </a:tblGrid>
              <a:tr h="71238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800" b="1" dirty="0">
                          <a:solidFill>
                            <a:schemeClr val="accent4"/>
                          </a:solidFill>
                        </a:rPr>
                        <a:t>10.369</a:t>
                      </a:r>
                      <a:br>
                        <a:rPr lang="es-ES" sz="2800" b="1" dirty="0">
                          <a:solidFill>
                            <a:schemeClr val="accent4"/>
                          </a:solidFill>
                        </a:rPr>
                      </a:br>
                      <a:r>
                        <a:rPr lang="es-ES" sz="1800" b="0" dirty="0" err="1">
                          <a:solidFill>
                            <a:schemeClr val="accent4"/>
                          </a:solidFill>
                        </a:rPr>
                        <a:t>N°</a:t>
                      </a:r>
                      <a:r>
                        <a:rPr lang="es-ES" sz="1800" b="0" dirty="0">
                          <a:solidFill>
                            <a:schemeClr val="accent4"/>
                          </a:solidFill>
                        </a:rPr>
                        <a:t> Contratados directos 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es-ES" sz="2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27.803</a:t>
                      </a:r>
                    </a:p>
                    <a:p>
                      <a:pPr lvl="0" algn="ctr"/>
                      <a:r>
                        <a:rPr lang="es-ES" sz="1800" b="0" dirty="0" err="1">
                          <a:solidFill>
                            <a:schemeClr val="accent4"/>
                          </a:solidFill>
                        </a:rPr>
                        <a:t>N°</a:t>
                      </a:r>
                      <a:r>
                        <a:rPr lang="es-ES" sz="1800" b="0" dirty="0">
                          <a:solidFill>
                            <a:schemeClr val="accent4"/>
                          </a:solidFill>
                        </a:rPr>
                        <a:t> Contratados indirectos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4191392"/>
                  </a:ext>
                </a:extLst>
              </a:tr>
              <a:tr h="6493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800" b="1" dirty="0">
                          <a:solidFill>
                            <a:schemeClr val="accent4"/>
                          </a:solidFill>
                        </a:rPr>
                        <a:t>22.960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dirty="0" err="1">
                          <a:solidFill>
                            <a:schemeClr val="accent4"/>
                          </a:solidFill>
                        </a:rPr>
                        <a:t>N°</a:t>
                      </a:r>
                      <a:r>
                        <a:rPr lang="es-ES" sz="1800" b="0" dirty="0">
                          <a:solidFill>
                            <a:schemeClr val="accent4"/>
                          </a:solidFill>
                        </a:rPr>
                        <a:t> área de Influencia direc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800" b="1" dirty="0">
                          <a:solidFill>
                            <a:schemeClr val="accent4"/>
                          </a:solidFill>
                        </a:rPr>
                        <a:t>14.126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dirty="0" err="1">
                          <a:solidFill>
                            <a:schemeClr val="accent4"/>
                          </a:solidFill>
                        </a:rPr>
                        <a:t>N°</a:t>
                      </a:r>
                      <a:r>
                        <a:rPr lang="es-ES" sz="1800" b="0" dirty="0">
                          <a:solidFill>
                            <a:schemeClr val="accent4"/>
                          </a:solidFill>
                        </a:rPr>
                        <a:t> área de Influencia indirec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1987905"/>
                  </a:ext>
                </a:extLst>
              </a:tr>
              <a:tr h="5261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800" b="1" dirty="0">
                          <a:solidFill>
                            <a:schemeClr val="accent4"/>
                          </a:solidFill>
                        </a:rPr>
                        <a:t>17.20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dirty="0">
                          <a:solidFill>
                            <a:schemeClr val="accent4"/>
                          </a:solidFill>
                        </a:rPr>
                        <a:t>Mano de obra calificada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2800" b="1" dirty="0">
                          <a:solidFill>
                            <a:schemeClr val="accent4"/>
                          </a:solidFill>
                        </a:rPr>
                        <a:t>16.61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0" dirty="0">
                          <a:solidFill>
                            <a:schemeClr val="accent4"/>
                          </a:solidFill>
                        </a:rPr>
                        <a:t>Mano de obra no calificada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141687"/>
                  </a:ext>
                </a:extLst>
              </a:tr>
              <a:tr h="780430">
                <a:tc>
                  <a:txBody>
                    <a:bodyPr/>
                    <a:lstStyle/>
                    <a:p>
                      <a:pPr algn="ctr"/>
                      <a:r>
                        <a:rPr lang="es-CO" sz="2800" b="1" dirty="0">
                          <a:solidFill>
                            <a:schemeClr val="accent4"/>
                          </a:solidFill>
                        </a:rPr>
                        <a:t>5.469</a:t>
                      </a:r>
                    </a:p>
                    <a:p>
                      <a:pPr algn="ctr"/>
                      <a:r>
                        <a:rPr lang="es-CO" sz="1800" b="0" dirty="0">
                          <a:solidFill>
                            <a:schemeClr val="accent4"/>
                          </a:solidFill>
                        </a:rPr>
                        <a:t>Personal Femenin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800" b="1" dirty="0">
                          <a:solidFill>
                            <a:schemeClr val="accent4"/>
                          </a:solidFill>
                        </a:rPr>
                        <a:t>29.011</a:t>
                      </a:r>
                    </a:p>
                    <a:p>
                      <a:pPr algn="ctr"/>
                      <a:r>
                        <a:rPr lang="es-CO" sz="1800" b="0" dirty="0">
                          <a:solidFill>
                            <a:schemeClr val="accent4"/>
                          </a:solidFill>
                        </a:rPr>
                        <a:t>Personal Masculin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8447493"/>
                  </a:ext>
                </a:extLst>
              </a:tr>
            </a:tbl>
          </a:graphicData>
        </a:graphic>
      </p:graphicFrame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EA1510C6-FE4D-419F-85C3-FAD3818902BD}"/>
              </a:ext>
            </a:extLst>
          </p:cNvPr>
          <p:cNvSpPr/>
          <p:nvPr/>
        </p:nvSpPr>
        <p:spPr>
          <a:xfrm>
            <a:off x="2518117" y="5394502"/>
            <a:ext cx="4543865" cy="528349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3200" b="1" dirty="0">
                <a:solidFill>
                  <a:schemeClr val="accent4">
                    <a:lumMod val="50000"/>
                  </a:schemeClr>
                </a:solidFill>
              </a:rPr>
              <a:t>T</a:t>
            </a:r>
            <a:r>
              <a:rPr lang="es-CO" sz="2800" b="1" dirty="0">
                <a:solidFill>
                  <a:schemeClr val="accent4">
                    <a:lumMod val="50000"/>
                  </a:schemeClr>
                </a:solidFill>
              </a:rPr>
              <a:t>OTAL VINCULADOS: 38.492</a:t>
            </a:r>
          </a:p>
        </p:txBody>
      </p:sp>
      <p:pic>
        <p:nvPicPr>
          <p:cNvPr id="39938" name="Picture 2" descr="Resultado de imagen para placa señalizacion HOMBRe y mujer">
            <a:extLst>
              <a:ext uri="{FF2B5EF4-FFF2-40B4-BE49-F238E27FC236}">
                <a16:creationId xmlns:a16="http://schemas.microsoft.com/office/drawing/2014/main" id="{A09317DF-BCB5-42EA-AD21-FA8EA6ECF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52653" y="5300866"/>
            <a:ext cx="715619" cy="715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35AA5987-675F-45D2-B5EA-00E55A617599}"/>
              </a:ext>
            </a:extLst>
          </p:cNvPr>
          <p:cNvSpPr txBox="1"/>
          <p:nvPr/>
        </p:nvSpPr>
        <p:spPr>
          <a:xfrm>
            <a:off x="185532" y="6337266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</p:spTree>
    <p:extLst>
      <p:ext uri="{BB962C8B-B14F-4D97-AF65-F5344CB8AC3E}">
        <p14:creationId xmlns:p14="http://schemas.microsoft.com/office/powerpoint/2010/main" val="24478733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0C16997A-3AF4-4419-84D9-7D6941E52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B1FC1-F037-408E-9442-7E4F7866E456}" type="slidenum">
              <a:rPr lang="es-419" smtClean="0"/>
              <a:t>6</a:t>
            </a:fld>
            <a:endParaRPr lang="es-419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0683819-9FDC-451A-9C06-A9A134A2CEC5}"/>
              </a:ext>
            </a:extLst>
          </p:cNvPr>
          <p:cNvSpPr txBox="1">
            <a:spLocks/>
          </p:cNvSpPr>
          <p:nvPr/>
        </p:nvSpPr>
        <p:spPr bwMode="auto">
          <a:xfrm>
            <a:off x="768855" y="129928"/>
            <a:ext cx="7765366" cy="822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FORMACIÓN Y 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RTICIPACIÓN 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OMUNITARIA</a:t>
            </a:r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85356A02-43E0-45DB-A873-58B33E7AD2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1771252"/>
              </p:ext>
            </p:extLst>
          </p:nvPr>
        </p:nvGraphicFramePr>
        <p:xfrm>
          <a:off x="1948556" y="1795192"/>
          <a:ext cx="6382045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82045">
                  <a:extLst>
                    <a:ext uri="{9D8B030D-6E8A-4147-A177-3AD203B41FA5}">
                      <a16:colId xmlns:a16="http://schemas.microsoft.com/office/drawing/2014/main" val="81515737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2800" dirty="0">
                          <a:solidFill>
                            <a:schemeClr val="accent4"/>
                          </a:solidFill>
                        </a:rPr>
                        <a:t>1416</a:t>
                      </a:r>
                    </a:p>
                    <a:p>
                      <a:pPr algn="ctr"/>
                      <a:r>
                        <a:rPr lang="es-CO" sz="2000" b="0" dirty="0">
                          <a:solidFill>
                            <a:schemeClr val="accent4"/>
                          </a:solidFill>
                        </a:rPr>
                        <a:t>Reuniones con la comunidad </a:t>
                      </a:r>
                    </a:p>
                    <a:p>
                      <a:pPr algn="ctr"/>
                      <a:r>
                        <a:rPr lang="es-CO" sz="2000" b="0" dirty="0">
                          <a:solidFill>
                            <a:schemeClr val="accent4"/>
                          </a:solidFill>
                        </a:rPr>
                        <a:t>(Inicio, avance, finalización y extraordinarias)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6805358"/>
                  </a:ext>
                </a:extLst>
              </a:tr>
            </a:tbl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61F0C2BA-87E0-4CFE-8ABA-55E910E1057C}"/>
              </a:ext>
            </a:extLst>
          </p:cNvPr>
          <p:cNvSpPr txBox="1"/>
          <p:nvPr/>
        </p:nvSpPr>
        <p:spPr>
          <a:xfrm>
            <a:off x="119396" y="1883507"/>
            <a:ext cx="16318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chemeClr val="accent4"/>
                </a:solidFill>
              </a:rPr>
              <a:t>REUNIONES EJECUTADAS</a:t>
            </a:r>
          </a:p>
        </p:txBody>
      </p:sp>
      <p:graphicFrame>
        <p:nvGraphicFramePr>
          <p:cNvPr id="12" name="Tabla 11">
            <a:extLst>
              <a:ext uri="{FF2B5EF4-FFF2-40B4-BE49-F238E27FC236}">
                <a16:creationId xmlns:a16="http://schemas.microsoft.com/office/drawing/2014/main" id="{EA9A0649-79E9-4297-B917-6765904F72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479669"/>
              </p:ext>
            </p:extLst>
          </p:nvPr>
        </p:nvGraphicFramePr>
        <p:xfrm>
          <a:off x="1948556" y="3118698"/>
          <a:ext cx="6382045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7713">
                  <a:extLst>
                    <a:ext uri="{9D8B030D-6E8A-4147-A177-3AD203B41FA5}">
                      <a16:colId xmlns:a16="http://schemas.microsoft.com/office/drawing/2014/main" val="815157379"/>
                    </a:ext>
                  </a:extLst>
                </a:gridCol>
                <a:gridCol w="1223889">
                  <a:extLst>
                    <a:ext uri="{9D8B030D-6E8A-4147-A177-3AD203B41FA5}">
                      <a16:colId xmlns:a16="http://schemas.microsoft.com/office/drawing/2014/main" val="2153674200"/>
                    </a:ext>
                  </a:extLst>
                </a:gridCol>
                <a:gridCol w="1871003">
                  <a:extLst>
                    <a:ext uri="{9D8B030D-6E8A-4147-A177-3AD203B41FA5}">
                      <a16:colId xmlns:a16="http://schemas.microsoft.com/office/drawing/2014/main" val="1089327875"/>
                    </a:ext>
                  </a:extLst>
                </a:gridCol>
                <a:gridCol w="1929440">
                  <a:extLst>
                    <a:ext uri="{9D8B030D-6E8A-4147-A177-3AD203B41FA5}">
                      <a16:colId xmlns:a16="http://schemas.microsoft.com/office/drawing/2014/main" val="355595379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2800" dirty="0">
                          <a:solidFill>
                            <a:schemeClr val="accent4"/>
                          </a:solidFill>
                        </a:rPr>
                        <a:t>7.820</a:t>
                      </a:r>
                    </a:p>
                    <a:p>
                      <a:pPr algn="ctr"/>
                      <a:r>
                        <a:rPr lang="es-CO" sz="2000" b="0" dirty="0" err="1">
                          <a:solidFill>
                            <a:schemeClr val="accent4"/>
                          </a:solidFill>
                        </a:rPr>
                        <a:t>Brochure</a:t>
                      </a:r>
                      <a:r>
                        <a:rPr lang="es-CO" sz="2000" b="0" dirty="0">
                          <a:solidFill>
                            <a:schemeClr val="accent4"/>
                          </a:solidFill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800" dirty="0">
                          <a:solidFill>
                            <a:schemeClr val="accent4"/>
                          </a:solidFill>
                        </a:rPr>
                        <a:t>25</a:t>
                      </a:r>
                    </a:p>
                    <a:p>
                      <a:pPr algn="ctr"/>
                      <a:r>
                        <a:rPr lang="es-CO" sz="2000" b="0" dirty="0">
                          <a:solidFill>
                            <a:schemeClr val="accent4"/>
                          </a:solidFill>
                        </a:rPr>
                        <a:t>Vídeos de proyectos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2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29.182</a:t>
                      </a:r>
                    </a:p>
                    <a:p>
                      <a:pPr algn="ctr"/>
                      <a:r>
                        <a:rPr lang="es-CO" sz="2000" b="0" dirty="0">
                          <a:solidFill>
                            <a:schemeClr val="accent4"/>
                          </a:solidFill>
                        </a:rPr>
                        <a:t>Publicaciones informativa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2800" b="1" kern="1200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  <a:p>
                      <a:pPr algn="ctr"/>
                      <a:r>
                        <a:rPr lang="es-CO" sz="2000" b="0" dirty="0">
                          <a:solidFill>
                            <a:schemeClr val="accent4"/>
                          </a:solidFill>
                        </a:rPr>
                        <a:t>Páginas Web de proyectos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6805358"/>
                  </a:ext>
                </a:extLst>
              </a:tr>
            </a:tbl>
          </a:graphicData>
        </a:graphic>
      </p:graphicFrame>
      <p:sp>
        <p:nvSpPr>
          <p:cNvPr id="13" name="CuadroTexto 12">
            <a:extLst>
              <a:ext uri="{FF2B5EF4-FFF2-40B4-BE49-F238E27FC236}">
                <a16:creationId xmlns:a16="http://schemas.microsoft.com/office/drawing/2014/main" id="{E21967D9-9243-435F-9CFA-A7999B06FB08}"/>
              </a:ext>
            </a:extLst>
          </p:cNvPr>
          <p:cNvSpPr txBox="1"/>
          <p:nvPr/>
        </p:nvSpPr>
        <p:spPr>
          <a:xfrm>
            <a:off x="0" y="3220913"/>
            <a:ext cx="19485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chemeClr val="accent4"/>
                </a:solidFill>
              </a:rPr>
              <a:t>HERRAMIENTAS Y CANALES DE COMUNICACIÓN</a:t>
            </a:r>
          </a:p>
        </p:txBody>
      </p:sp>
      <p:graphicFrame>
        <p:nvGraphicFramePr>
          <p:cNvPr id="15" name="Tabla 14">
            <a:extLst>
              <a:ext uri="{FF2B5EF4-FFF2-40B4-BE49-F238E27FC236}">
                <a16:creationId xmlns:a16="http://schemas.microsoft.com/office/drawing/2014/main" id="{DC739112-4B88-4E89-B1C9-2E2396D6AA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6673535"/>
              </p:ext>
            </p:extLst>
          </p:nvPr>
        </p:nvGraphicFramePr>
        <p:xfrm>
          <a:off x="1948556" y="4836479"/>
          <a:ext cx="6382044" cy="106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5481">
                  <a:extLst>
                    <a:ext uri="{9D8B030D-6E8A-4147-A177-3AD203B41FA5}">
                      <a16:colId xmlns:a16="http://schemas.microsoft.com/office/drawing/2014/main" val="3317824402"/>
                    </a:ext>
                  </a:extLst>
                </a:gridCol>
                <a:gridCol w="2039215">
                  <a:extLst>
                    <a:ext uri="{9D8B030D-6E8A-4147-A177-3AD203B41FA5}">
                      <a16:colId xmlns:a16="http://schemas.microsoft.com/office/drawing/2014/main" val="2120862811"/>
                    </a:ext>
                  </a:extLst>
                </a:gridCol>
                <a:gridCol w="2127348">
                  <a:extLst>
                    <a:ext uri="{9D8B030D-6E8A-4147-A177-3AD203B41FA5}">
                      <a16:colId xmlns:a16="http://schemas.microsoft.com/office/drawing/2014/main" val="752168860"/>
                    </a:ext>
                  </a:extLst>
                </a:gridCol>
              </a:tblGrid>
              <a:tr h="428471">
                <a:tc>
                  <a:txBody>
                    <a:bodyPr/>
                    <a:lstStyle/>
                    <a:p>
                      <a:pPr algn="ctr"/>
                      <a:r>
                        <a:rPr lang="es-CO" sz="2800" b="1" dirty="0">
                          <a:solidFill>
                            <a:schemeClr val="accent4"/>
                          </a:solidFill>
                        </a:rPr>
                        <a:t>36</a:t>
                      </a:r>
                    </a:p>
                    <a:p>
                      <a:pPr algn="ctr"/>
                      <a:r>
                        <a:rPr lang="es-CO" b="0" dirty="0">
                          <a:solidFill>
                            <a:schemeClr val="accent4"/>
                          </a:solidFill>
                        </a:rPr>
                        <a:t>Canales de televisión empleados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800" b="1" dirty="0">
                          <a:solidFill>
                            <a:schemeClr val="accent4"/>
                          </a:solidFill>
                        </a:rPr>
                        <a:t>112</a:t>
                      </a:r>
                    </a:p>
                    <a:p>
                      <a:pPr algn="ctr"/>
                      <a:r>
                        <a:rPr lang="es-CO" b="0" dirty="0">
                          <a:solidFill>
                            <a:schemeClr val="accent4"/>
                          </a:solidFill>
                        </a:rPr>
                        <a:t>Emisoras empleadas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2800" b="1" dirty="0">
                          <a:solidFill>
                            <a:schemeClr val="accent4"/>
                          </a:solidFill>
                        </a:rPr>
                        <a:t>155</a:t>
                      </a:r>
                    </a:p>
                    <a:p>
                      <a:pPr algn="ctr"/>
                      <a:r>
                        <a:rPr lang="es-CO" b="0" dirty="0">
                          <a:solidFill>
                            <a:schemeClr val="accent4"/>
                          </a:solidFill>
                        </a:rPr>
                        <a:t>Insertos de prensa publicados</a:t>
                      </a: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5301771"/>
                  </a:ext>
                </a:extLst>
              </a:tr>
            </a:tbl>
          </a:graphicData>
        </a:graphic>
      </p:graphicFrame>
      <p:sp>
        <p:nvSpPr>
          <p:cNvPr id="16" name="CuadroTexto 15">
            <a:extLst>
              <a:ext uri="{FF2B5EF4-FFF2-40B4-BE49-F238E27FC236}">
                <a16:creationId xmlns:a16="http://schemas.microsoft.com/office/drawing/2014/main" id="{7FF54644-EAFF-457A-AB1B-C4E5D49E6006}"/>
              </a:ext>
            </a:extLst>
          </p:cNvPr>
          <p:cNvSpPr txBox="1"/>
          <p:nvPr/>
        </p:nvSpPr>
        <p:spPr>
          <a:xfrm>
            <a:off x="0" y="5185213"/>
            <a:ext cx="19485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dirty="0">
                <a:solidFill>
                  <a:schemeClr val="accent4"/>
                </a:solidFill>
              </a:rPr>
              <a:t>PLAN DE MEDIOS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97E0C396-2FAE-442C-9277-51427D983B5F}"/>
              </a:ext>
            </a:extLst>
          </p:cNvPr>
          <p:cNvSpPr txBox="1"/>
          <p:nvPr/>
        </p:nvSpPr>
        <p:spPr>
          <a:xfrm>
            <a:off x="185532" y="6337266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</p:spTree>
    <p:extLst>
      <p:ext uri="{BB962C8B-B14F-4D97-AF65-F5344CB8AC3E}">
        <p14:creationId xmlns:p14="http://schemas.microsoft.com/office/powerpoint/2010/main" val="3024031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AFF1AD18-EE47-48B1-BD3C-026543BDF7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B1FC1-F037-408E-9442-7E4F7866E456}" type="slidenum">
              <a:rPr lang="es-419" smtClean="0"/>
              <a:t>7</a:t>
            </a:fld>
            <a:endParaRPr lang="es-419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49E2C24-91DC-4715-B623-A0CC8699440E}"/>
              </a:ext>
            </a:extLst>
          </p:cNvPr>
          <p:cNvSpPr txBox="1">
            <a:spLocks/>
          </p:cNvSpPr>
          <p:nvPr/>
        </p:nvSpPr>
        <p:spPr bwMode="auto">
          <a:xfrm>
            <a:off x="768855" y="129928"/>
            <a:ext cx="7765366" cy="822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OYO A LA 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G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ESTIÓN 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</a:t>
            </a:r>
            <a:r>
              <a:rPr lang="es-419" sz="28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NSTITUCIONAL</a:t>
            </a:r>
          </a:p>
        </p:txBody>
      </p:sp>
      <p:graphicFrame>
        <p:nvGraphicFramePr>
          <p:cNvPr id="7" name="Marcador de contenido 7">
            <a:extLst>
              <a:ext uri="{FF2B5EF4-FFF2-40B4-BE49-F238E27FC236}">
                <a16:creationId xmlns:a16="http://schemas.microsoft.com/office/drawing/2014/main" id="{B57D5249-3EB6-4596-8FC0-B7278E198D2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1302826"/>
              </p:ext>
            </p:extLst>
          </p:nvPr>
        </p:nvGraphicFramePr>
        <p:xfrm>
          <a:off x="1014467" y="2162531"/>
          <a:ext cx="6584586" cy="11004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Marcador de contenido 7">
            <a:extLst>
              <a:ext uri="{FF2B5EF4-FFF2-40B4-BE49-F238E27FC236}">
                <a16:creationId xmlns:a16="http://schemas.microsoft.com/office/drawing/2014/main" id="{C5536914-88A6-422E-962D-8E53231CAC6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7640110"/>
              </p:ext>
            </p:extLst>
          </p:nvPr>
        </p:nvGraphicFramePr>
        <p:xfrm>
          <a:off x="1014467" y="3733239"/>
          <a:ext cx="6584586" cy="11004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4328BA72-49DD-4F4E-B6BD-9D8B60DEDA98}"/>
              </a:ext>
            </a:extLst>
          </p:cNvPr>
          <p:cNvSpPr txBox="1"/>
          <p:nvPr/>
        </p:nvSpPr>
        <p:spPr>
          <a:xfrm>
            <a:off x="185532" y="6337266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</p:spTree>
    <p:extLst>
      <p:ext uri="{BB962C8B-B14F-4D97-AF65-F5344CB8AC3E}">
        <p14:creationId xmlns:p14="http://schemas.microsoft.com/office/powerpoint/2010/main" val="793256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Marcador de contenido 3">
            <a:extLst>
              <a:ext uri="{FF2B5EF4-FFF2-40B4-BE49-F238E27FC236}">
                <a16:creationId xmlns:a16="http://schemas.microsoft.com/office/drawing/2014/main" id="{5A3B233F-3268-47D4-A373-382B6EFCC4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0844143"/>
              </p:ext>
            </p:extLst>
          </p:nvPr>
        </p:nvGraphicFramePr>
        <p:xfrm>
          <a:off x="185532" y="1859666"/>
          <a:ext cx="7049127" cy="3450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1B473F66-1746-4EF7-9609-5224CA7E931F}"/>
              </a:ext>
            </a:extLst>
          </p:cNvPr>
          <p:cNvSpPr txBox="1">
            <a:spLocks/>
          </p:cNvSpPr>
          <p:nvPr/>
        </p:nvSpPr>
        <p:spPr bwMode="auto">
          <a:xfrm>
            <a:off x="-141475" y="272455"/>
            <a:ext cx="9285475" cy="71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PACITACIONES A LA </a:t>
            </a:r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OMUNIDAD</a:t>
            </a:r>
          </a:p>
        </p:txBody>
      </p:sp>
      <p:pic>
        <p:nvPicPr>
          <p:cNvPr id="8" name="Picture 2" descr="Resultado de imagen para placa señalizacion HOMBRe y mujer">
            <a:extLst>
              <a:ext uri="{FF2B5EF4-FFF2-40B4-BE49-F238E27FC236}">
                <a16:creationId xmlns:a16="http://schemas.microsoft.com/office/drawing/2014/main" id="{2735BAFF-FD76-4C60-A891-82E2F75DA7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262357" y="3328269"/>
            <a:ext cx="538916" cy="538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91513E88-5BB1-486D-A993-0296F1DBC11A}"/>
              </a:ext>
            </a:extLst>
          </p:cNvPr>
          <p:cNvSpPr txBox="1"/>
          <p:nvPr/>
        </p:nvSpPr>
        <p:spPr>
          <a:xfrm>
            <a:off x="185532" y="6337266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C5F0CA22-14E7-4FF3-82E6-A5412F626582}"/>
              </a:ext>
            </a:extLst>
          </p:cNvPr>
          <p:cNvGrpSpPr/>
          <p:nvPr/>
        </p:nvGrpSpPr>
        <p:grpSpPr>
          <a:xfrm>
            <a:off x="6062885" y="2060643"/>
            <a:ext cx="2596772" cy="2992620"/>
            <a:chOff x="3100195" y="176570"/>
            <a:chExt cx="2596772" cy="2992620"/>
          </a:xfrm>
        </p:grpSpPr>
        <p:sp>
          <p:nvSpPr>
            <p:cNvPr id="11" name="Hexágono 10">
              <a:extLst>
                <a:ext uri="{FF2B5EF4-FFF2-40B4-BE49-F238E27FC236}">
                  <a16:creationId xmlns:a16="http://schemas.microsoft.com/office/drawing/2014/main" id="{5D70C656-E164-463D-9839-49C2DE02103A}"/>
                </a:ext>
              </a:extLst>
            </p:cNvPr>
            <p:cNvSpPr/>
            <p:nvPr/>
          </p:nvSpPr>
          <p:spPr>
            <a:xfrm rot="5400000">
              <a:off x="2902271" y="374494"/>
              <a:ext cx="2992620" cy="2596772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Hexágono 4">
              <a:extLst>
                <a:ext uri="{FF2B5EF4-FFF2-40B4-BE49-F238E27FC236}">
                  <a16:creationId xmlns:a16="http://schemas.microsoft.com/office/drawing/2014/main" id="{2B3F5353-ACA8-4FB2-A098-7FC0702B1EDE}"/>
                </a:ext>
              </a:extLst>
            </p:cNvPr>
            <p:cNvSpPr txBox="1"/>
            <p:nvPr/>
          </p:nvSpPr>
          <p:spPr>
            <a:xfrm>
              <a:off x="3504366" y="642353"/>
              <a:ext cx="1788430" cy="20610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0" tIns="152400" rIns="152400" bIns="152400" numCol="1" spcCol="1270" anchor="ctr" anchorCtr="0">
              <a:noAutofit/>
            </a:bodyPr>
            <a:lstStyle/>
            <a:p>
              <a:pPr marL="0" lvl="0" indent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4000" b="1" kern="1200" dirty="0">
                  <a:solidFill>
                    <a:schemeClr val="accent4">
                      <a:lumMod val="50000"/>
                    </a:schemeClr>
                  </a:solidFill>
                  <a:latin typeface="+mj-lt"/>
                </a:rPr>
                <a:t>224</a:t>
              </a:r>
            </a:p>
            <a:p>
              <a:pPr marL="0" lvl="0" indent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1900" b="1" kern="1200" dirty="0">
                  <a:solidFill>
                    <a:schemeClr val="accent4">
                      <a:lumMod val="50000"/>
                    </a:schemeClr>
                  </a:solidFill>
                  <a:latin typeface="+mj-lt"/>
                </a:rPr>
                <a:t>JORNADAS CÍVICO AMBIENTAL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83504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Marcador de contenido 3">
            <a:extLst>
              <a:ext uri="{FF2B5EF4-FFF2-40B4-BE49-F238E27FC236}">
                <a16:creationId xmlns:a16="http://schemas.microsoft.com/office/drawing/2014/main" id="{5A3B233F-3268-47D4-A373-382B6EFCC4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5119804"/>
              </p:ext>
            </p:extLst>
          </p:nvPr>
        </p:nvGraphicFramePr>
        <p:xfrm>
          <a:off x="185532" y="1859666"/>
          <a:ext cx="7049127" cy="3450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91513E88-5BB1-486D-A993-0296F1DBC11A}"/>
              </a:ext>
            </a:extLst>
          </p:cNvPr>
          <p:cNvSpPr txBox="1"/>
          <p:nvPr/>
        </p:nvSpPr>
        <p:spPr>
          <a:xfrm>
            <a:off x="185532" y="6337266"/>
            <a:ext cx="9218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>
                <a:solidFill>
                  <a:schemeClr val="accent4"/>
                </a:solidFill>
              </a:rPr>
              <a:t>Información al corte de Agosto de 2017</a:t>
            </a: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C5F0CA22-14E7-4FF3-82E6-A5412F626582}"/>
              </a:ext>
            </a:extLst>
          </p:cNvPr>
          <p:cNvGrpSpPr/>
          <p:nvPr/>
        </p:nvGrpSpPr>
        <p:grpSpPr>
          <a:xfrm>
            <a:off x="6062885" y="2060643"/>
            <a:ext cx="2596772" cy="2992620"/>
            <a:chOff x="3100195" y="176570"/>
            <a:chExt cx="2596772" cy="2992620"/>
          </a:xfrm>
        </p:grpSpPr>
        <p:sp>
          <p:nvSpPr>
            <p:cNvPr id="11" name="Hexágono 10">
              <a:extLst>
                <a:ext uri="{FF2B5EF4-FFF2-40B4-BE49-F238E27FC236}">
                  <a16:creationId xmlns:a16="http://schemas.microsoft.com/office/drawing/2014/main" id="{5D70C656-E164-463D-9839-49C2DE02103A}"/>
                </a:ext>
              </a:extLst>
            </p:cNvPr>
            <p:cNvSpPr/>
            <p:nvPr/>
          </p:nvSpPr>
          <p:spPr>
            <a:xfrm rot="5400000">
              <a:off x="2902271" y="374494"/>
              <a:ext cx="2992620" cy="2596772"/>
            </a:xfrm>
            <a:prstGeom prst="hexagon">
              <a:avLst>
                <a:gd name="adj" fmla="val 25000"/>
                <a:gd name="vf" fmla="val 115470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Hexágono 4">
              <a:extLst>
                <a:ext uri="{FF2B5EF4-FFF2-40B4-BE49-F238E27FC236}">
                  <a16:creationId xmlns:a16="http://schemas.microsoft.com/office/drawing/2014/main" id="{2B3F5353-ACA8-4FB2-A098-7FC0702B1EDE}"/>
                </a:ext>
              </a:extLst>
            </p:cNvPr>
            <p:cNvSpPr txBox="1"/>
            <p:nvPr/>
          </p:nvSpPr>
          <p:spPr>
            <a:xfrm>
              <a:off x="3504366" y="642353"/>
              <a:ext cx="1788430" cy="20610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0" tIns="152400" rIns="152400" bIns="152400" numCol="1" spcCol="1270" anchor="ctr" anchorCtr="0">
              <a:noAutofit/>
            </a:bodyPr>
            <a:lstStyle/>
            <a:p>
              <a:pPr marL="0" lvl="0" indent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4000" b="1" kern="1200" dirty="0">
                  <a:solidFill>
                    <a:schemeClr val="accent4">
                      <a:lumMod val="50000"/>
                    </a:schemeClr>
                  </a:solidFill>
                  <a:latin typeface="+mj-lt"/>
                </a:rPr>
                <a:t>196</a:t>
              </a:r>
            </a:p>
            <a:p>
              <a:pPr marL="0" lvl="0" indent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ES" sz="1600" b="1" kern="1200" dirty="0">
                  <a:solidFill>
                    <a:schemeClr val="accent4">
                      <a:lumMod val="50000"/>
                    </a:schemeClr>
                  </a:solidFill>
                  <a:latin typeface="+mj-lt"/>
                </a:rPr>
                <a:t>CAPACITACIONES COMUNIDAD LOCAL</a:t>
              </a:r>
            </a:p>
          </p:txBody>
        </p:sp>
      </p:grpSp>
      <p:sp>
        <p:nvSpPr>
          <p:cNvPr id="13" name="Title 1">
            <a:extLst>
              <a:ext uri="{FF2B5EF4-FFF2-40B4-BE49-F238E27FC236}">
                <a16:creationId xmlns:a16="http://schemas.microsoft.com/office/drawing/2014/main" id="{DB06D505-D1DB-4F51-A650-CF5C5505A270}"/>
              </a:ext>
            </a:extLst>
          </p:cNvPr>
          <p:cNvSpPr txBox="1">
            <a:spLocks/>
          </p:cNvSpPr>
          <p:nvPr/>
        </p:nvSpPr>
        <p:spPr bwMode="auto">
          <a:xfrm>
            <a:off x="-141475" y="272455"/>
            <a:ext cx="9285475" cy="715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QUEOLOGÍA </a:t>
            </a:r>
            <a:r>
              <a:rPr lang="es-419" sz="4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</a:t>
            </a:r>
            <a:r>
              <a:rPr lang="es-419" sz="3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EVENTIVA</a:t>
            </a:r>
          </a:p>
        </p:txBody>
      </p:sp>
    </p:spTree>
    <p:extLst>
      <p:ext uri="{BB962C8B-B14F-4D97-AF65-F5344CB8AC3E}">
        <p14:creationId xmlns:p14="http://schemas.microsoft.com/office/powerpoint/2010/main" val="29827182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5EhUBZrUe.6bQ08g6v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ANI PPT</Template>
  <TotalTime>3138</TotalTime>
  <Words>373</Words>
  <Application>Microsoft Office PowerPoint</Application>
  <PresentationFormat>Presentación en pantalla (4:3)</PresentationFormat>
  <Paragraphs>150</Paragraphs>
  <Slides>15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3" baseType="lpstr">
      <vt:lpstr>Arial</vt:lpstr>
      <vt:lpstr>Calibri</vt:lpstr>
      <vt:lpstr>Candara</vt:lpstr>
      <vt:lpstr>Helvetica Neue Bold Condensed</vt:lpstr>
      <vt:lpstr>Impact</vt:lpstr>
      <vt:lpstr>Times New Roman</vt:lpstr>
      <vt:lpstr>plantilla ANI</vt:lpstr>
      <vt:lpstr>think-cell Slide</vt:lpstr>
      <vt:lpstr>LOGROS SOCIALE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GRACIAS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Leonardo Garcia Duarte</dc:creator>
  <cp:lastModifiedBy>Hector Eduardo Vanegas Gàmez</cp:lastModifiedBy>
  <cp:revision>254</cp:revision>
  <cp:lastPrinted>2017-03-03T20:56:58Z</cp:lastPrinted>
  <dcterms:created xsi:type="dcterms:W3CDTF">2015-06-23T21:46:26Z</dcterms:created>
  <dcterms:modified xsi:type="dcterms:W3CDTF">2017-08-28T13:06:14Z</dcterms:modified>
</cp:coreProperties>
</file>